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5"/>
  </p:notesMasterIdLst>
  <p:sldIdLst>
    <p:sldId id="311" r:id="rId2"/>
    <p:sldId id="434" r:id="rId3"/>
    <p:sldId id="456" r:id="rId4"/>
    <p:sldId id="425" r:id="rId5"/>
    <p:sldId id="420" r:id="rId6"/>
    <p:sldId id="421" r:id="rId7"/>
    <p:sldId id="422" r:id="rId8"/>
    <p:sldId id="423" r:id="rId9"/>
    <p:sldId id="453" r:id="rId10"/>
    <p:sldId id="417" r:id="rId11"/>
    <p:sldId id="457" r:id="rId12"/>
    <p:sldId id="405" r:id="rId13"/>
    <p:sldId id="416" r:id="rId14"/>
    <p:sldId id="441" r:id="rId15"/>
    <p:sldId id="455" r:id="rId16"/>
    <p:sldId id="443" r:id="rId17"/>
    <p:sldId id="435" r:id="rId18"/>
    <p:sldId id="436" r:id="rId19"/>
    <p:sldId id="437" r:id="rId20"/>
    <p:sldId id="438" r:id="rId21"/>
    <p:sldId id="439" r:id="rId22"/>
    <p:sldId id="458" r:id="rId23"/>
    <p:sldId id="444" r:id="rId24"/>
    <p:sldId id="454" r:id="rId25"/>
    <p:sldId id="445" r:id="rId26"/>
    <p:sldId id="446" r:id="rId27"/>
    <p:sldId id="447" r:id="rId28"/>
    <p:sldId id="448" r:id="rId29"/>
    <p:sldId id="449" r:id="rId30"/>
    <p:sldId id="450" r:id="rId31"/>
    <p:sldId id="451" r:id="rId32"/>
    <p:sldId id="452" r:id="rId33"/>
    <p:sldId id="442" r:id="rId34"/>
  </p:sldIdLst>
  <p:sldSz cx="12192000" cy="6858000"/>
  <p:notesSz cx="6858000" cy="9144000"/>
  <p:custDataLst>
    <p:tags r:id="rId36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ADE"/>
    <a:srgbClr val="BF00BF"/>
    <a:srgbClr val="CED0D3"/>
    <a:srgbClr val="697078"/>
    <a:srgbClr val="4E5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1C157C9-6F82-E249-9846-58DA70C8FB22}" v="126" dt="2024-09-24T07:40:31.993"/>
  </p1510:revLst>
</p1510:revInfo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83"/>
    <p:restoredTop sz="84543"/>
  </p:normalViewPr>
  <p:slideViewPr>
    <p:cSldViewPr snapToGrid="0">
      <p:cViewPr>
        <p:scale>
          <a:sx n="70" d="100"/>
          <a:sy n="70" d="100"/>
        </p:scale>
        <p:origin x="808" y="6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767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ngo Bethke" userId="0ace9986-83c7-40d8-aadc-a8d8d7c841c6" providerId="ADAL" clId="{C1C157C9-6F82-E249-9846-58DA70C8FB22}"/>
    <pc:docChg chg="undo custSel addSld delSld modSld sldOrd">
      <pc:chgData name="Ingo Bethke" userId="0ace9986-83c7-40d8-aadc-a8d8d7c841c6" providerId="ADAL" clId="{C1C157C9-6F82-E249-9846-58DA70C8FB22}" dt="2024-09-24T07:42:39.359" v="6989" actId="20577"/>
      <pc:docMkLst>
        <pc:docMk/>
      </pc:docMkLst>
      <pc:sldChg chg="modSp mod">
        <pc:chgData name="Ingo Bethke" userId="0ace9986-83c7-40d8-aadc-a8d8d7c841c6" providerId="ADAL" clId="{C1C157C9-6F82-E249-9846-58DA70C8FB22}" dt="2024-09-24T07:24:08.087" v="6486" actId="20577"/>
        <pc:sldMkLst>
          <pc:docMk/>
          <pc:sldMk cId="2231084329" sldId="311"/>
        </pc:sldMkLst>
        <pc:spChg chg="mod">
          <ac:chgData name="Ingo Bethke" userId="0ace9986-83c7-40d8-aadc-a8d8d7c841c6" providerId="ADAL" clId="{C1C157C9-6F82-E249-9846-58DA70C8FB22}" dt="2024-09-24T07:24:08.087" v="6486" actId="20577"/>
          <ac:spMkLst>
            <pc:docMk/>
            <pc:sldMk cId="2231084329" sldId="311"/>
            <ac:spMk id="2" creationId="{00000000-0000-0000-0000-000000000000}"/>
          </ac:spMkLst>
        </pc:spChg>
        <pc:spChg chg="mod">
          <ac:chgData name="Ingo Bethke" userId="0ace9986-83c7-40d8-aadc-a8d8d7c841c6" providerId="ADAL" clId="{C1C157C9-6F82-E249-9846-58DA70C8FB22}" dt="2024-09-20T09:11:05.203" v="5121" actId="20577"/>
          <ac:spMkLst>
            <pc:docMk/>
            <pc:sldMk cId="2231084329" sldId="311"/>
            <ac:spMk id="4" creationId="{00000000-0000-0000-0000-000000000000}"/>
          </ac:spMkLst>
        </pc:spChg>
      </pc:sldChg>
      <pc:sldChg chg="modSp mod">
        <pc:chgData name="Ingo Bethke" userId="0ace9986-83c7-40d8-aadc-a8d8d7c841c6" providerId="ADAL" clId="{C1C157C9-6F82-E249-9846-58DA70C8FB22}" dt="2024-09-17T10:35:27.937" v="1352" actId="20577"/>
        <pc:sldMkLst>
          <pc:docMk/>
          <pc:sldMk cId="3308765497" sldId="405"/>
        </pc:sldMkLst>
        <pc:spChg chg="mod">
          <ac:chgData name="Ingo Bethke" userId="0ace9986-83c7-40d8-aadc-a8d8d7c841c6" providerId="ADAL" clId="{C1C157C9-6F82-E249-9846-58DA70C8FB22}" dt="2024-09-17T10:35:27.937" v="1352" actId="20577"/>
          <ac:spMkLst>
            <pc:docMk/>
            <pc:sldMk cId="3308765497" sldId="405"/>
            <ac:spMk id="2" creationId="{7F420939-91E1-E573-F0BD-AD2B47A07E8B}"/>
          </ac:spMkLst>
        </pc:spChg>
      </pc:sldChg>
      <pc:sldChg chg="addSp delSp modSp mod ord">
        <pc:chgData name="Ingo Bethke" userId="0ace9986-83c7-40d8-aadc-a8d8d7c841c6" providerId="ADAL" clId="{C1C157C9-6F82-E249-9846-58DA70C8FB22}" dt="2024-09-23T12:17:06.469" v="6390" actId="14100"/>
        <pc:sldMkLst>
          <pc:docMk/>
          <pc:sldMk cId="427209922" sldId="416"/>
        </pc:sldMkLst>
        <pc:spChg chg="mod">
          <ac:chgData name="Ingo Bethke" userId="0ace9986-83c7-40d8-aadc-a8d8d7c841c6" providerId="ADAL" clId="{C1C157C9-6F82-E249-9846-58DA70C8FB22}" dt="2024-09-17T10:37:25.642" v="1393" actId="20577"/>
          <ac:spMkLst>
            <pc:docMk/>
            <pc:sldMk cId="427209922" sldId="416"/>
            <ac:spMk id="2" creationId="{7F420939-91E1-E573-F0BD-AD2B47A07E8B}"/>
          </ac:spMkLst>
        </pc:spChg>
        <pc:spChg chg="mod">
          <ac:chgData name="Ingo Bethke" userId="0ace9986-83c7-40d8-aadc-a8d8d7c841c6" providerId="ADAL" clId="{C1C157C9-6F82-E249-9846-58DA70C8FB22}" dt="2024-09-23T12:16:55.307" v="6389" actId="20577"/>
          <ac:spMkLst>
            <pc:docMk/>
            <pc:sldMk cId="427209922" sldId="416"/>
            <ac:spMk id="3" creationId="{E924D2CF-D65B-2043-E142-255DC1C37D77}"/>
          </ac:spMkLst>
        </pc:spChg>
        <pc:spChg chg="add del mod">
          <ac:chgData name="Ingo Bethke" userId="0ace9986-83c7-40d8-aadc-a8d8d7c841c6" providerId="ADAL" clId="{C1C157C9-6F82-E249-9846-58DA70C8FB22}" dt="2024-09-23T12:17:06.469" v="6390" actId="14100"/>
          <ac:spMkLst>
            <pc:docMk/>
            <pc:sldMk cId="427209922" sldId="416"/>
            <ac:spMk id="5" creationId="{401E7156-5D76-D08F-1E7B-C5BE269A4CD4}"/>
          </ac:spMkLst>
        </pc:spChg>
      </pc:sldChg>
      <pc:sldChg chg="add ord">
        <pc:chgData name="Ingo Bethke" userId="0ace9986-83c7-40d8-aadc-a8d8d7c841c6" providerId="ADAL" clId="{C1C157C9-6F82-E249-9846-58DA70C8FB22}" dt="2024-09-24T07:18:09.578" v="6454" actId="20578"/>
        <pc:sldMkLst>
          <pc:docMk/>
          <pc:sldMk cId="1415875485" sldId="417"/>
        </pc:sldMkLst>
      </pc:sldChg>
      <pc:sldChg chg="modSp mod">
        <pc:chgData name="Ingo Bethke" userId="0ace9986-83c7-40d8-aadc-a8d8d7c841c6" providerId="ADAL" clId="{C1C157C9-6F82-E249-9846-58DA70C8FB22}" dt="2024-09-23T11:56:56.924" v="6381" actId="20577"/>
        <pc:sldMkLst>
          <pc:docMk/>
          <pc:sldMk cId="1628392479" sldId="425"/>
        </pc:sldMkLst>
        <pc:spChg chg="mod">
          <ac:chgData name="Ingo Bethke" userId="0ace9986-83c7-40d8-aadc-a8d8d7c841c6" providerId="ADAL" clId="{C1C157C9-6F82-E249-9846-58DA70C8FB22}" dt="2024-09-23T11:56:56.924" v="6381" actId="20577"/>
          <ac:spMkLst>
            <pc:docMk/>
            <pc:sldMk cId="1628392479" sldId="425"/>
            <ac:spMk id="6" creationId="{7BE72CB7-A3D9-3E78-D59B-0F72F5E51866}"/>
          </ac:spMkLst>
        </pc:spChg>
        <pc:spChg chg="mod">
          <ac:chgData name="Ingo Bethke" userId="0ace9986-83c7-40d8-aadc-a8d8d7c841c6" providerId="ADAL" clId="{C1C157C9-6F82-E249-9846-58DA70C8FB22}" dt="2024-09-17T10:40:55.110" v="1411" actId="255"/>
          <ac:spMkLst>
            <pc:docMk/>
            <pc:sldMk cId="1628392479" sldId="425"/>
            <ac:spMk id="7" creationId="{85275E20-790A-58A5-0A7A-59DEF3041FD4}"/>
          </ac:spMkLst>
        </pc:spChg>
      </pc:sldChg>
      <pc:sldChg chg="addSp delSp modSp mod">
        <pc:chgData name="Ingo Bethke" userId="0ace9986-83c7-40d8-aadc-a8d8d7c841c6" providerId="ADAL" clId="{C1C157C9-6F82-E249-9846-58DA70C8FB22}" dt="2024-09-24T07:39:43.269" v="6892" actId="20577"/>
        <pc:sldMkLst>
          <pc:docMk/>
          <pc:sldMk cId="1822871216" sldId="434"/>
        </pc:sldMkLst>
        <pc:spChg chg="del">
          <ac:chgData name="Ingo Bethke" userId="0ace9986-83c7-40d8-aadc-a8d8d7c841c6" providerId="ADAL" clId="{C1C157C9-6F82-E249-9846-58DA70C8FB22}" dt="2024-09-24T07:32:20.469" v="6571" actId="478"/>
          <ac:spMkLst>
            <pc:docMk/>
            <pc:sldMk cId="1822871216" sldId="434"/>
            <ac:spMk id="2" creationId="{7F420939-91E1-E573-F0BD-AD2B47A07E8B}"/>
          </ac:spMkLst>
        </pc:spChg>
        <pc:spChg chg="del mod">
          <ac:chgData name="Ingo Bethke" userId="0ace9986-83c7-40d8-aadc-a8d8d7c841c6" providerId="ADAL" clId="{C1C157C9-6F82-E249-9846-58DA70C8FB22}" dt="2024-09-24T07:32:20.469" v="6571" actId="478"/>
          <ac:spMkLst>
            <pc:docMk/>
            <pc:sldMk cId="1822871216" sldId="434"/>
            <ac:spMk id="3" creationId="{E924D2CF-D65B-2043-E142-255DC1C37D77}"/>
          </ac:spMkLst>
        </pc:spChg>
        <pc:spChg chg="del mod">
          <ac:chgData name="Ingo Bethke" userId="0ace9986-83c7-40d8-aadc-a8d8d7c841c6" providerId="ADAL" clId="{C1C157C9-6F82-E249-9846-58DA70C8FB22}" dt="2024-09-24T07:32:20.469" v="6571" actId="478"/>
          <ac:spMkLst>
            <pc:docMk/>
            <pc:sldMk cId="1822871216" sldId="434"/>
            <ac:spMk id="5" creationId="{A65A12A4-43BC-42B1-1A0E-56D7609F4C92}"/>
          </ac:spMkLst>
        </pc:spChg>
        <pc:spChg chg="del">
          <ac:chgData name="Ingo Bethke" userId="0ace9986-83c7-40d8-aadc-a8d8d7c841c6" providerId="ADAL" clId="{C1C157C9-6F82-E249-9846-58DA70C8FB22}" dt="2024-09-24T07:32:20.469" v="6571" actId="478"/>
          <ac:spMkLst>
            <pc:docMk/>
            <pc:sldMk cId="1822871216" sldId="434"/>
            <ac:spMk id="6" creationId="{4EABDAE6-55C0-F543-C46A-3FA44E17D8E2}"/>
          </ac:spMkLst>
        </pc:spChg>
        <pc:spChg chg="add del mod">
          <ac:chgData name="Ingo Bethke" userId="0ace9986-83c7-40d8-aadc-a8d8d7c841c6" providerId="ADAL" clId="{C1C157C9-6F82-E249-9846-58DA70C8FB22}" dt="2024-09-24T07:32:20.469" v="6571" actId="478"/>
          <ac:spMkLst>
            <pc:docMk/>
            <pc:sldMk cId="1822871216" sldId="434"/>
            <ac:spMk id="7" creationId="{16527C71-0E6B-EDBC-1CE5-CFB4E27EBE88}"/>
          </ac:spMkLst>
        </pc:spChg>
        <pc:spChg chg="add del mod">
          <ac:chgData name="Ingo Bethke" userId="0ace9986-83c7-40d8-aadc-a8d8d7c841c6" providerId="ADAL" clId="{C1C157C9-6F82-E249-9846-58DA70C8FB22}" dt="2024-09-24T07:32:25.986" v="6573" actId="478"/>
          <ac:spMkLst>
            <pc:docMk/>
            <pc:sldMk cId="1822871216" sldId="434"/>
            <ac:spMk id="9" creationId="{1FECB2D3-60B2-9510-CF2E-13FA2B01DBA0}"/>
          </ac:spMkLst>
        </pc:spChg>
        <pc:spChg chg="del">
          <ac:chgData name="Ingo Bethke" userId="0ace9986-83c7-40d8-aadc-a8d8d7c841c6" providerId="ADAL" clId="{C1C157C9-6F82-E249-9846-58DA70C8FB22}" dt="2024-09-24T07:32:20.469" v="6571" actId="478"/>
          <ac:spMkLst>
            <pc:docMk/>
            <pc:sldMk cId="1822871216" sldId="434"/>
            <ac:spMk id="10" creationId="{07CC911C-A106-24AB-014E-7F7EBFD62159}"/>
          </ac:spMkLst>
        </pc:spChg>
        <pc:spChg chg="del mod">
          <ac:chgData name="Ingo Bethke" userId="0ace9986-83c7-40d8-aadc-a8d8d7c841c6" providerId="ADAL" clId="{C1C157C9-6F82-E249-9846-58DA70C8FB22}" dt="2024-09-24T07:32:20.469" v="6571" actId="478"/>
          <ac:spMkLst>
            <pc:docMk/>
            <pc:sldMk cId="1822871216" sldId="434"/>
            <ac:spMk id="11" creationId="{B5FE17A4-9C5A-679E-C2B9-E23B0E95979D}"/>
          </ac:spMkLst>
        </pc:spChg>
        <pc:spChg chg="del">
          <ac:chgData name="Ingo Bethke" userId="0ace9986-83c7-40d8-aadc-a8d8d7c841c6" providerId="ADAL" clId="{C1C157C9-6F82-E249-9846-58DA70C8FB22}" dt="2024-09-24T07:32:20.469" v="6571" actId="478"/>
          <ac:spMkLst>
            <pc:docMk/>
            <pc:sldMk cId="1822871216" sldId="434"/>
            <ac:spMk id="12" creationId="{9B44C8E9-16EA-76B3-9176-861EF36F8E52}"/>
          </ac:spMkLst>
        </pc:spChg>
        <pc:spChg chg="del">
          <ac:chgData name="Ingo Bethke" userId="0ace9986-83c7-40d8-aadc-a8d8d7c841c6" providerId="ADAL" clId="{C1C157C9-6F82-E249-9846-58DA70C8FB22}" dt="2024-09-24T07:32:20.469" v="6571" actId="478"/>
          <ac:spMkLst>
            <pc:docMk/>
            <pc:sldMk cId="1822871216" sldId="434"/>
            <ac:spMk id="13" creationId="{BF37F071-8E50-E7CE-9AAD-DFD0FBE35D93}"/>
          </ac:spMkLst>
        </pc:spChg>
        <pc:spChg chg="del">
          <ac:chgData name="Ingo Bethke" userId="0ace9986-83c7-40d8-aadc-a8d8d7c841c6" providerId="ADAL" clId="{C1C157C9-6F82-E249-9846-58DA70C8FB22}" dt="2024-09-24T07:32:20.469" v="6571" actId="478"/>
          <ac:spMkLst>
            <pc:docMk/>
            <pc:sldMk cId="1822871216" sldId="434"/>
            <ac:spMk id="14" creationId="{F471B768-0F9B-0966-53B3-99724B9788F8}"/>
          </ac:spMkLst>
        </pc:spChg>
        <pc:spChg chg="add del mod">
          <ac:chgData name="Ingo Bethke" userId="0ace9986-83c7-40d8-aadc-a8d8d7c841c6" providerId="ADAL" clId="{C1C157C9-6F82-E249-9846-58DA70C8FB22}" dt="2024-09-24T07:32:24.576" v="6572" actId="478"/>
          <ac:spMkLst>
            <pc:docMk/>
            <pc:sldMk cId="1822871216" sldId="434"/>
            <ac:spMk id="16" creationId="{C63541C5-51C9-08FB-32E1-ED15A448D2B0}"/>
          </ac:spMkLst>
        </pc:spChg>
        <pc:spChg chg="add mod">
          <ac:chgData name="Ingo Bethke" userId="0ace9986-83c7-40d8-aadc-a8d8d7c841c6" providerId="ADAL" clId="{C1C157C9-6F82-E249-9846-58DA70C8FB22}" dt="2024-09-24T07:39:43.269" v="6892" actId="20577"/>
          <ac:spMkLst>
            <pc:docMk/>
            <pc:sldMk cId="1822871216" sldId="434"/>
            <ac:spMk id="17" creationId="{2660710F-6145-2F83-61A8-7362FC738112}"/>
          </ac:spMkLst>
        </pc:spChg>
      </pc:sldChg>
      <pc:sldChg chg="delSp mod">
        <pc:chgData name="Ingo Bethke" userId="0ace9986-83c7-40d8-aadc-a8d8d7c841c6" providerId="ADAL" clId="{C1C157C9-6F82-E249-9846-58DA70C8FB22}" dt="2024-09-17T08:57:50.314" v="763" actId="478"/>
        <pc:sldMkLst>
          <pc:docMk/>
          <pc:sldMk cId="2083810965" sldId="435"/>
        </pc:sldMkLst>
        <pc:spChg chg="del">
          <ac:chgData name="Ingo Bethke" userId="0ace9986-83c7-40d8-aadc-a8d8d7c841c6" providerId="ADAL" clId="{C1C157C9-6F82-E249-9846-58DA70C8FB22}" dt="2024-09-17T08:57:50.314" v="763" actId="478"/>
          <ac:spMkLst>
            <pc:docMk/>
            <pc:sldMk cId="2083810965" sldId="435"/>
            <ac:spMk id="5" creationId="{401E7156-5D76-D08F-1E7B-C5BE269A4CD4}"/>
          </ac:spMkLst>
        </pc:spChg>
      </pc:sldChg>
      <pc:sldChg chg="delSp modSp mod">
        <pc:chgData name="Ingo Bethke" userId="0ace9986-83c7-40d8-aadc-a8d8d7c841c6" providerId="ADAL" clId="{C1C157C9-6F82-E249-9846-58DA70C8FB22}" dt="2024-09-23T12:27:37.717" v="6405" actId="20577"/>
        <pc:sldMkLst>
          <pc:docMk/>
          <pc:sldMk cId="1902660188" sldId="436"/>
        </pc:sldMkLst>
        <pc:spChg chg="mod">
          <ac:chgData name="Ingo Bethke" userId="0ace9986-83c7-40d8-aadc-a8d8d7c841c6" providerId="ADAL" clId="{C1C157C9-6F82-E249-9846-58DA70C8FB22}" dt="2024-09-23T12:27:37.717" v="6405" actId="20577"/>
          <ac:spMkLst>
            <pc:docMk/>
            <pc:sldMk cId="1902660188" sldId="436"/>
            <ac:spMk id="3" creationId="{E924D2CF-D65B-2043-E142-255DC1C37D77}"/>
          </ac:spMkLst>
        </pc:spChg>
        <pc:spChg chg="del">
          <ac:chgData name="Ingo Bethke" userId="0ace9986-83c7-40d8-aadc-a8d8d7c841c6" providerId="ADAL" clId="{C1C157C9-6F82-E249-9846-58DA70C8FB22}" dt="2024-09-17T08:57:54.731" v="764" actId="478"/>
          <ac:spMkLst>
            <pc:docMk/>
            <pc:sldMk cId="1902660188" sldId="436"/>
            <ac:spMk id="5" creationId="{401E7156-5D76-D08F-1E7B-C5BE269A4CD4}"/>
          </ac:spMkLst>
        </pc:spChg>
        <pc:spChg chg="mod">
          <ac:chgData name="Ingo Bethke" userId="0ace9986-83c7-40d8-aadc-a8d8d7c841c6" providerId="ADAL" clId="{C1C157C9-6F82-E249-9846-58DA70C8FB22}" dt="2024-09-22T13:56:39.600" v="6243" actId="255"/>
          <ac:spMkLst>
            <pc:docMk/>
            <pc:sldMk cId="1902660188" sldId="436"/>
            <ac:spMk id="7" creationId="{7CA6ECE7-6D19-7277-20AB-18DEE6189A6A}"/>
          </ac:spMkLst>
        </pc:spChg>
      </pc:sldChg>
      <pc:sldChg chg="delSp modSp mod">
        <pc:chgData name="Ingo Bethke" userId="0ace9986-83c7-40d8-aadc-a8d8d7c841c6" providerId="ADAL" clId="{C1C157C9-6F82-E249-9846-58DA70C8FB22}" dt="2024-09-22T13:57:00.255" v="6245" actId="14100"/>
        <pc:sldMkLst>
          <pc:docMk/>
          <pc:sldMk cId="537671957" sldId="437"/>
        </pc:sldMkLst>
        <pc:spChg chg="mod">
          <ac:chgData name="Ingo Bethke" userId="0ace9986-83c7-40d8-aadc-a8d8d7c841c6" providerId="ADAL" clId="{C1C157C9-6F82-E249-9846-58DA70C8FB22}" dt="2024-09-17T08:58:00.193" v="767" actId="1035"/>
          <ac:spMkLst>
            <pc:docMk/>
            <pc:sldMk cId="537671957" sldId="437"/>
            <ac:spMk id="3" creationId="{E924D2CF-D65B-2043-E142-255DC1C37D77}"/>
          </ac:spMkLst>
        </pc:spChg>
        <pc:spChg chg="del">
          <ac:chgData name="Ingo Bethke" userId="0ace9986-83c7-40d8-aadc-a8d8d7c841c6" providerId="ADAL" clId="{C1C157C9-6F82-E249-9846-58DA70C8FB22}" dt="2024-09-17T08:57:58.291" v="765" actId="478"/>
          <ac:spMkLst>
            <pc:docMk/>
            <pc:sldMk cId="537671957" sldId="437"/>
            <ac:spMk id="5" creationId="{401E7156-5D76-D08F-1E7B-C5BE269A4CD4}"/>
          </ac:spMkLst>
        </pc:spChg>
        <pc:spChg chg="mod">
          <ac:chgData name="Ingo Bethke" userId="0ace9986-83c7-40d8-aadc-a8d8d7c841c6" providerId="ADAL" clId="{C1C157C9-6F82-E249-9846-58DA70C8FB22}" dt="2024-09-22T13:57:00.255" v="6245" actId="14100"/>
          <ac:spMkLst>
            <pc:docMk/>
            <pc:sldMk cId="537671957" sldId="437"/>
            <ac:spMk id="6" creationId="{46C2EAA5-D1FD-6189-5D0C-A7E7FE7195A4}"/>
          </ac:spMkLst>
        </pc:spChg>
      </pc:sldChg>
      <pc:sldChg chg="delSp modSp mod">
        <pc:chgData name="Ingo Bethke" userId="0ace9986-83c7-40d8-aadc-a8d8d7c841c6" providerId="ADAL" clId="{C1C157C9-6F82-E249-9846-58DA70C8FB22}" dt="2024-09-22T13:57:10.774" v="6246" actId="255"/>
        <pc:sldMkLst>
          <pc:docMk/>
          <pc:sldMk cId="3893507163" sldId="438"/>
        </pc:sldMkLst>
        <pc:spChg chg="del">
          <ac:chgData name="Ingo Bethke" userId="0ace9986-83c7-40d8-aadc-a8d8d7c841c6" providerId="ADAL" clId="{C1C157C9-6F82-E249-9846-58DA70C8FB22}" dt="2024-09-17T08:58:05.229" v="768" actId="478"/>
          <ac:spMkLst>
            <pc:docMk/>
            <pc:sldMk cId="3893507163" sldId="438"/>
            <ac:spMk id="5" creationId="{401E7156-5D76-D08F-1E7B-C5BE269A4CD4}"/>
          </ac:spMkLst>
        </pc:spChg>
        <pc:spChg chg="mod">
          <ac:chgData name="Ingo Bethke" userId="0ace9986-83c7-40d8-aadc-a8d8d7c841c6" providerId="ADAL" clId="{C1C157C9-6F82-E249-9846-58DA70C8FB22}" dt="2024-09-22T13:57:10.774" v="6246" actId="255"/>
          <ac:spMkLst>
            <pc:docMk/>
            <pc:sldMk cId="3893507163" sldId="438"/>
            <ac:spMk id="6" creationId="{46C2EAA5-D1FD-6189-5D0C-A7E7FE7195A4}"/>
          </ac:spMkLst>
        </pc:spChg>
      </pc:sldChg>
      <pc:sldChg chg="delSp mod ord">
        <pc:chgData name="Ingo Bethke" userId="0ace9986-83c7-40d8-aadc-a8d8d7c841c6" providerId="ADAL" clId="{C1C157C9-6F82-E249-9846-58DA70C8FB22}" dt="2024-09-17T10:46:44.371" v="1492" actId="20578"/>
        <pc:sldMkLst>
          <pc:docMk/>
          <pc:sldMk cId="638712783" sldId="439"/>
        </pc:sldMkLst>
        <pc:spChg chg="del">
          <ac:chgData name="Ingo Bethke" userId="0ace9986-83c7-40d8-aadc-a8d8d7c841c6" providerId="ADAL" clId="{C1C157C9-6F82-E249-9846-58DA70C8FB22}" dt="2024-09-17T08:58:09.782" v="769" actId="478"/>
          <ac:spMkLst>
            <pc:docMk/>
            <pc:sldMk cId="638712783" sldId="439"/>
            <ac:spMk id="5" creationId="{401E7156-5D76-D08F-1E7B-C5BE269A4CD4}"/>
          </ac:spMkLst>
        </pc:spChg>
      </pc:sldChg>
      <pc:sldChg chg="modSp del mod">
        <pc:chgData name="Ingo Bethke" userId="0ace9986-83c7-40d8-aadc-a8d8d7c841c6" providerId="ADAL" clId="{C1C157C9-6F82-E249-9846-58DA70C8FB22}" dt="2024-09-17T09:11:12.042" v="1339" actId="2696"/>
        <pc:sldMkLst>
          <pc:docMk/>
          <pc:sldMk cId="2988075705" sldId="440"/>
        </pc:sldMkLst>
        <pc:spChg chg="mod">
          <ac:chgData name="Ingo Bethke" userId="0ace9986-83c7-40d8-aadc-a8d8d7c841c6" providerId="ADAL" clId="{C1C157C9-6F82-E249-9846-58DA70C8FB22}" dt="2024-09-17T08:54:03.234" v="659" actId="20577"/>
          <ac:spMkLst>
            <pc:docMk/>
            <pc:sldMk cId="2988075705" sldId="440"/>
            <ac:spMk id="2" creationId="{7F420939-91E1-E573-F0BD-AD2B47A07E8B}"/>
          </ac:spMkLst>
        </pc:spChg>
        <pc:spChg chg="mod">
          <ac:chgData name="Ingo Bethke" userId="0ace9986-83c7-40d8-aadc-a8d8d7c841c6" providerId="ADAL" clId="{C1C157C9-6F82-E249-9846-58DA70C8FB22}" dt="2024-09-17T08:54:06.359" v="660" actId="20577"/>
          <ac:spMkLst>
            <pc:docMk/>
            <pc:sldMk cId="2988075705" sldId="440"/>
            <ac:spMk id="3" creationId="{E924D2CF-D65B-2043-E142-255DC1C37D77}"/>
          </ac:spMkLst>
        </pc:spChg>
      </pc:sldChg>
      <pc:sldChg chg="addSp delSp modSp mod">
        <pc:chgData name="Ingo Bethke" userId="0ace9986-83c7-40d8-aadc-a8d8d7c841c6" providerId="ADAL" clId="{C1C157C9-6F82-E249-9846-58DA70C8FB22}" dt="2024-09-24T07:41:53.440" v="6988" actId="1035"/>
        <pc:sldMkLst>
          <pc:docMk/>
          <pc:sldMk cId="3573790918" sldId="441"/>
        </pc:sldMkLst>
        <pc:spChg chg="mod">
          <ac:chgData name="Ingo Bethke" userId="0ace9986-83c7-40d8-aadc-a8d8d7c841c6" providerId="ADAL" clId="{C1C157C9-6F82-E249-9846-58DA70C8FB22}" dt="2024-09-17T08:55:10.073" v="686" actId="20577"/>
          <ac:spMkLst>
            <pc:docMk/>
            <pc:sldMk cId="3573790918" sldId="441"/>
            <ac:spMk id="2" creationId="{7F420939-91E1-E573-F0BD-AD2B47A07E8B}"/>
          </ac:spMkLst>
        </pc:spChg>
        <pc:spChg chg="add mod">
          <ac:chgData name="Ingo Bethke" userId="0ace9986-83c7-40d8-aadc-a8d8d7c841c6" providerId="ADAL" clId="{C1C157C9-6F82-E249-9846-58DA70C8FB22}" dt="2024-09-24T07:31:20.760" v="6569" actId="1037"/>
          <ac:spMkLst>
            <pc:docMk/>
            <pc:sldMk cId="3573790918" sldId="441"/>
            <ac:spMk id="3" creationId="{A45319A9-4254-E7BD-0D7D-53A5101893CD}"/>
          </ac:spMkLst>
        </pc:spChg>
        <pc:spChg chg="del">
          <ac:chgData name="Ingo Bethke" userId="0ace9986-83c7-40d8-aadc-a8d8d7c841c6" providerId="ADAL" clId="{C1C157C9-6F82-E249-9846-58DA70C8FB22}" dt="2024-09-17T08:36:28.753" v="26" actId="478"/>
          <ac:spMkLst>
            <pc:docMk/>
            <pc:sldMk cId="3573790918" sldId="441"/>
            <ac:spMk id="3" creationId="{E924D2CF-D65B-2043-E142-255DC1C37D77}"/>
          </ac:spMkLst>
        </pc:spChg>
        <pc:spChg chg="mod">
          <ac:chgData name="Ingo Bethke" userId="0ace9986-83c7-40d8-aadc-a8d8d7c841c6" providerId="ADAL" clId="{C1C157C9-6F82-E249-9846-58DA70C8FB22}" dt="2024-09-17T10:36:08.684" v="1375" actId="1035"/>
          <ac:spMkLst>
            <pc:docMk/>
            <pc:sldMk cId="3573790918" sldId="441"/>
            <ac:spMk id="4" creationId="{D5A6990E-F9BC-87DA-F948-9DD3F0158590}"/>
          </ac:spMkLst>
        </pc:spChg>
        <pc:spChg chg="del">
          <ac:chgData name="Ingo Bethke" userId="0ace9986-83c7-40d8-aadc-a8d8d7c841c6" providerId="ADAL" clId="{C1C157C9-6F82-E249-9846-58DA70C8FB22}" dt="2024-09-17T08:36:31.282" v="27" actId="478"/>
          <ac:spMkLst>
            <pc:docMk/>
            <pc:sldMk cId="3573790918" sldId="441"/>
            <ac:spMk id="5" creationId="{401E7156-5D76-D08F-1E7B-C5BE269A4CD4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6" creationId="{A2F048D0-418F-672F-E9CE-E7D61E404982}"/>
          </ac:spMkLst>
        </pc:spChg>
        <pc:spChg chg="add mod">
          <ac:chgData name="Ingo Bethke" userId="0ace9986-83c7-40d8-aadc-a8d8d7c841c6" providerId="ADAL" clId="{C1C157C9-6F82-E249-9846-58DA70C8FB22}" dt="2024-09-22T13:53:57.743" v="6238" actId="20577"/>
          <ac:spMkLst>
            <pc:docMk/>
            <pc:sldMk cId="3573790918" sldId="441"/>
            <ac:spMk id="7" creationId="{635B963A-F567-B230-0FCE-01A54FCABC0A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8" creationId="{759D2482-3D3B-B927-2BB2-C870C1F8FE6D}"/>
          </ac:spMkLst>
        </pc:spChg>
        <pc:spChg chg="add mod">
          <ac:chgData name="Ingo Bethke" userId="0ace9986-83c7-40d8-aadc-a8d8d7c841c6" providerId="ADAL" clId="{C1C157C9-6F82-E249-9846-58DA70C8FB22}" dt="2024-09-23T12:17:24.310" v="6400" actId="20577"/>
          <ac:spMkLst>
            <pc:docMk/>
            <pc:sldMk cId="3573790918" sldId="441"/>
            <ac:spMk id="9" creationId="{DA81BB90-D83D-5146-D0D7-81942D35211D}"/>
          </ac:spMkLst>
        </pc:spChg>
        <pc:spChg chg="add del mod">
          <ac:chgData name="Ingo Bethke" userId="0ace9986-83c7-40d8-aadc-a8d8d7c841c6" providerId="ADAL" clId="{C1C157C9-6F82-E249-9846-58DA70C8FB22}" dt="2024-09-17T08:42:47.446" v="302" actId="478"/>
          <ac:spMkLst>
            <pc:docMk/>
            <pc:sldMk cId="3573790918" sldId="441"/>
            <ac:spMk id="10" creationId="{D5858EF1-CFDA-53C9-40D5-3AA858C71744}"/>
          </ac:spMkLst>
        </pc:spChg>
        <pc:spChg chg="add del mod">
          <ac:chgData name="Ingo Bethke" userId="0ace9986-83c7-40d8-aadc-a8d8d7c841c6" providerId="ADAL" clId="{C1C157C9-6F82-E249-9846-58DA70C8FB22}" dt="2024-09-17T08:45:14.559" v="342"/>
          <ac:spMkLst>
            <pc:docMk/>
            <pc:sldMk cId="3573790918" sldId="441"/>
            <ac:spMk id="11" creationId="{D4F84817-37B0-BE71-BC87-41DC433A9A77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12" creationId="{0561C1F1-E48F-CF1A-5815-263414B75DD4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13" creationId="{B73DE0D2-D946-4830-84AB-EB779A32D608}"/>
          </ac:spMkLst>
        </pc:spChg>
        <pc:spChg chg="add mod">
          <ac:chgData name="Ingo Bethke" userId="0ace9986-83c7-40d8-aadc-a8d8d7c841c6" providerId="ADAL" clId="{C1C157C9-6F82-E249-9846-58DA70C8FB22}" dt="2024-09-24T07:41:53.440" v="6988" actId="1035"/>
          <ac:spMkLst>
            <pc:docMk/>
            <pc:sldMk cId="3573790918" sldId="441"/>
            <ac:spMk id="14" creationId="{FE19D858-4B4B-6A2C-4A0D-CE587EEEFE17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26" creationId="{98CB6615-147D-23FB-3CF6-75925214E9BE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27" creationId="{58CD26CE-29B8-2047-5A03-B74D2E47B488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28" creationId="{5E259E4E-B1A1-9931-E180-0C4EEBC7CEB4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29" creationId="{803B0C1C-74AD-F8C7-A7DA-EFA183DFC1DD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30" creationId="{A78FAC02-1C17-B10A-AC9C-07326E11BEE5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31" creationId="{D6E6E29A-0CEA-3D50-27CE-EB5C998F9BF3}"/>
          </ac:spMkLst>
        </pc:spChg>
        <pc:spChg chg="add del mod">
          <ac:chgData name="Ingo Bethke" userId="0ace9986-83c7-40d8-aadc-a8d8d7c841c6" providerId="ADAL" clId="{C1C157C9-6F82-E249-9846-58DA70C8FB22}" dt="2024-09-17T09:05:48.512" v="1126" actId="478"/>
          <ac:spMkLst>
            <pc:docMk/>
            <pc:sldMk cId="3573790918" sldId="441"/>
            <ac:spMk id="32" creationId="{9C431659-E15A-3067-12DC-76F122A323E1}"/>
          </ac:spMkLst>
        </pc:spChg>
        <pc:spChg chg="add del mod">
          <ac:chgData name="Ingo Bethke" userId="0ace9986-83c7-40d8-aadc-a8d8d7c841c6" providerId="ADAL" clId="{C1C157C9-6F82-E249-9846-58DA70C8FB22}" dt="2024-09-17T09:05:49.889" v="1127" actId="478"/>
          <ac:spMkLst>
            <pc:docMk/>
            <pc:sldMk cId="3573790918" sldId="441"/>
            <ac:spMk id="33" creationId="{84C649B7-F24F-1E3F-B8F9-C608851F842D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37" creationId="{8C74BF2C-6945-6CFB-CC6A-44D3BBCB02C0}"/>
          </ac:spMkLst>
        </pc:spChg>
        <pc:spChg chg="add mod">
          <ac:chgData name="Ingo Bethke" userId="0ace9986-83c7-40d8-aadc-a8d8d7c841c6" providerId="ADAL" clId="{C1C157C9-6F82-E249-9846-58DA70C8FB22}" dt="2024-09-17T10:36:22.873" v="1377" actId="1036"/>
          <ac:spMkLst>
            <pc:docMk/>
            <pc:sldMk cId="3573790918" sldId="441"/>
            <ac:spMk id="41" creationId="{9AD691BE-14F9-467E-4144-4DC7BA260EC2}"/>
          </ac:spMkLst>
        </pc:spChg>
        <pc:spChg chg="add mod">
          <ac:chgData name="Ingo Bethke" userId="0ace9986-83c7-40d8-aadc-a8d8d7c841c6" providerId="ADAL" clId="{C1C157C9-6F82-E249-9846-58DA70C8FB22}" dt="2024-09-17T10:36:22.873" v="1377" actId="1036"/>
          <ac:spMkLst>
            <pc:docMk/>
            <pc:sldMk cId="3573790918" sldId="441"/>
            <ac:spMk id="42" creationId="{DCEC41F6-5D02-20FE-0087-8454068098E7}"/>
          </ac:spMkLst>
        </pc:spChg>
        <pc:spChg chg="add mod">
          <ac:chgData name="Ingo Bethke" userId="0ace9986-83c7-40d8-aadc-a8d8d7c841c6" providerId="ADAL" clId="{C1C157C9-6F82-E249-9846-58DA70C8FB22}" dt="2024-09-17T10:36:22.873" v="1377" actId="1036"/>
          <ac:spMkLst>
            <pc:docMk/>
            <pc:sldMk cId="3573790918" sldId="441"/>
            <ac:spMk id="43" creationId="{2DB34CF4-C0D3-FC4C-1188-626E892B4F03}"/>
          </ac:spMkLst>
        </pc:spChg>
        <pc:spChg chg="add mod">
          <ac:chgData name="Ingo Bethke" userId="0ace9986-83c7-40d8-aadc-a8d8d7c841c6" providerId="ADAL" clId="{C1C157C9-6F82-E249-9846-58DA70C8FB22}" dt="2024-09-17T10:36:22.873" v="1377" actId="1036"/>
          <ac:spMkLst>
            <pc:docMk/>
            <pc:sldMk cId="3573790918" sldId="441"/>
            <ac:spMk id="44" creationId="{753314A4-6301-C0E7-7727-3A190A98F777}"/>
          </ac:spMkLst>
        </pc:spChg>
        <pc:spChg chg="add mod">
          <ac:chgData name="Ingo Bethke" userId="0ace9986-83c7-40d8-aadc-a8d8d7c841c6" providerId="ADAL" clId="{C1C157C9-6F82-E249-9846-58DA70C8FB22}" dt="2024-09-17T10:36:22.873" v="1377" actId="1036"/>
          <ac:spMkLst>
            <pc:docMk/>
            <pc:sldMk cId="3573790918" sldId="441"/>
            <ac:spMk id="46" creationId="{165B7E7F-4F1B-0019-E996-F33F489C82EF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47" creationId="{1123A7B3-76EA-1375-E004-7E9EC8952CC7}"/>
          </ac:spMkLst>
        </pc:spChg>
        <pc:spChg chg="add mod">
          <ac:chgData name="Ingo Bethke" userId="0ace9986-83c7-40d8-aadc-a8d8d7c841c6" providerId="ADAL" clId="{C1C157C9-6F82-E249-9846-58DA70C8FB22}" dt="2024-09-17T10:36:22.873" v="1377" actId="1036"/>
          <ac:spMkLst>
            <pc:docMk/>
            <pc:sldMk cId="3573790918" sldId="441"/>
            <ac:spMk id="48" creationId="{A9F8E5CB-2916-B397-AE11-C00DD5745016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49" creationId="{2386EEBC-4389-2A91-D9CD-2ACB7276C3F2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50" creationId="{D05000D0-BE74-07D5-1588-8D6D61A13692}"/>
          </ac:spMkLst>
        </pc:spChg>
        <pc:spChg chg="add mod">
          <ac:chgData name="Ingo Bethke" userId="0ace9986-83c7-40d8-aadc-a8d8d7c841c6" providerId="ADAL" clId="{C1C157C9-6F82-E249-9846-58DA70C8FB22}" dt="2024-09-17T10:36:22.873" v="1377" actId="1036"/>
          <ac:spMkLst>
            <pc:docMk/>
            <pc:sldMk cId="3573790918" sldId="441"/>
            <ac:spMk id="51" creationId="{19A461E0-E895-8353-3734-CF4F3C5584BD}"/>
          </ac:spMkLst>
        </pc:spChg>
        <pc:spChg chg="add mod">
          <ac:chgData name="Ingo Bethke" userId="0ace9986-83c7-40d8-aadc-a8d8d7c841c6" providerId="ADAL" clId="{C1C157C9-6F82-E249-9846-58DA70C8FB22}" dt="2024-09-17T10:44:41.699" v="1475" actId="20577"/>
          <ac:spMkLst>
            <pc:docMk/>
            <pc:sldMk cId="3573790918" sldId="441"/>
            <ac:spMk id="52" creationId="{AB6FE19B-1D48-0441-BB38-BA78BF11B6BB}"/>
          </ac:spMkLst>
        </pc:spChg>
        <pc:spChg chg="add mod">
          <ac:chgData name="Ingo Bethke" userId="0ace9986-83c7-40d8-aadc-a8d8d7c841c6" providerId="ADAL" clId="{C1C157C9-6F82-E249-9846-58DA70C8FB22}" dt="2024-09-17T10:43:48.992" v="1456" actId="1076"/>
          <ac:spMkLst>
            <pc:docMk/>
            <pc:sldMk cId="3573790918" sldId="441"/>
            <ac:spMk id="53" creationId="{D49577B5-60BF-15BC-DB28-F6FF57DB98E7}"/>
          </ac:spMkLst>
        </pc:spChg>
        <pc:spChg chg="add mod">
          <ac:chgData name="Ingo Bethke" userId="0ace9986-83c7-40d8-aadc-a8d8d7c841c6" providerId="ADAL" clId="{C1C157C9-6F82-E249-9846-58DA70C8FB22}" dt="2024-09-17T10:46:02.355" v="1488" actId="20577"/>
          <ac:spMkLst>
            <pc:docMk/>
            <pc:sldMk cId="3573790918" sldId="441"/>
            <ac:spMk id="54" creationId="{34D2D38E-C891-2087-B9A8-330EACEC9C30}"/>
          </ac:spMkLst>
        </pc:spChg>
        <pc:spChg chg="add mod">
          <ac:chgData name="Ingo Bethke" userId="0ace9986-83c7-40d8-aadc-a8d8d7c841c6" providerId="ADAL" clId="{C1C157C9-6F82-E249-9846-58DA70C8FB22}" dt="2024-09-17T10:44:33.673" v="1473" actId="20577"/>
          <ac:spMkLst>
            <pc:docMk/>
            <pc:sldMk cId="3573790918" sldId="441"/>
            <ac:spMk id="55" creationId="{E0C51EC5-6838-4052-47D8-E5EF9DF60E5E}"/>
          </ac:spMkLst>
        </pc:spChg>
        <pc:cxnChg chg="add mod">
          <ac:chgData name="Ingo Bethke" userId="0ace9986-83c7-40d8-aadc-a8d8d7c841c6" providerId="ADAL" clId="{C1C157C9-6F82-E249-9846-58DA70C8FB22}" dt="2024-09-24T07:31:20.760" v="6569" actId="1037"/>
          <ac:cxnSpMkLst>
            <pc:docMk/>
            <pc:sldMk cId="3573790918" sldId="441"/>
            <ac:cxnSpMk id="10" creationId="{4BBBF462-5C6A-C939-1F52-A043E99FEBD3}"/>
          </ac:cxnSpMkLst>
        </pc:cxnChg>
        <pc:cxnChg chg="add mod">
          <ac:chgData name="Ingo Bethke" userId="0ace9986-83c7-40d8-aadc-a8d8d7c841c6" providerId="ADAL" clId="{C1C157C9-6F82-E249-9846-58DA70C8FB22}" dt="2024-09-22T13:54:12.938" v="6240" actId="14100"/>
          <ac:cxnSpMkLst>
            <pc:docMk/>
            <pc:sldMk cId="3573790918" sldId="441"/>
            <ac:cxnSpMk id="15" creationId="{19AB625B-E874-69D6-4DA9-F3500D3D6AAE}"/>
          </ac:cxnSpMkLst>
        </pc:cxnChg>
        <pc:cxnChg chg="add mod">
          <ac:chgData name="Ingo Bethke" userId="0ace9986-83c7-40d8-aadc-a8d8d7c841c6" providerId="ADAL" clId="{C1C157C9-6F82-E249-9846-58DA70C8FB22}" dt="2024-09-17T10:35:45.904" v="1366" actId="1036"/>
          <ac:cxnSpMkLst>
            <pc:docMk/>
            <pc:sldMk cId="3573790918" sldId="441"/>
            <ac:cxnSpMk id="17" creationId="{D7C9B004-2592-3051-6AC8-C352ED7AB1A8}"/>
          </ac:cxnSpMkLst>
        </pc:cxnChg>
        <pc:cxnChg chg="add mod">
          <ac:chgData name="Ingo Bethke" userId="0ace9986-83c7-40d8-aadc-a8d8d7c841c6" providerId="ADAL" clId="{C1C157C9-6F82-E249-9846-58DA70C8FB22}" dt="2024-09-17T10:35:45.904" v="1366" actId="1036"/>
          <ac:cxnSpMkLst>
            <pc:docMk/>
            <pc:sldMk cId="3573790918" sldId="441"/>
            <ac:cxnSpMk id="20" creationId="{15623E52-1550-86C6-0FCA-5C0F00EC2AA4}"/>
          </ac:cxnSpMkLst>
        </pc:cxnChg>
        <pc:cxnChg chg="add mod">
          <ac:chgData name="Ingo Bethke" userId="0ace9986-83c7-40d8-aadc-a8d8d7c841c6" providerId="ADAL" clId="{C1C157C9-6F82-E249-9846-58DA70C8FB22}" dt="2024-09-17T10:35:45.904" v="1366" actId="1036"/>
          <ac:cxnSpMkLst>
            <pc:docMk/>
            <pc:sldMk cId="3573790918" sldId="441"/>
            <ac:cxnSpMk id="34" creationId="{A9066B25-3211-F5D7-514E-DB630F326FF3}"/>
          </ac:cxnSpMkLst>
        </pc:cxnChg>
        <pc:cxnChg chg="add del mod">
          <ac:chgData name="Ingo Bethke" userId="0ace9986-83c7-40d8-aadc-a8d8d7c841c6" providerId="ADAL" clId="{C1C157C9-6F82-E249-9846-58DA70C8FB22}" dt="2024-09-17T09:05:51.195" v="1128" actId="478"/>
          <ac:cxnSpMkLst>
            <pc:docMk/>
            <pc:sldMk cId="3573790918" sldId="441"/>
            <ac:cxnSpMk id="35" creationId="{B1AEA7B8-7C0A-3A2E-C005-079E7438682D}"/>
          </ac:cxnSpMkLst>
        </pc:cxnChg>
        <pc:cxnChg chg="add del mod">
          <ac:chgData name="Ingo Bethke" userId="0ace9986-83c7-40d8-aadc-a8d8d7c841c6" providerId="ADAL" clId="{C1C157C9-6F82-E249-9846-58DA70C8FB22}" dt="2024-09-17T09:05:52.140" v="1129" actId="478"/>
          <ac:cxnSpMkLst>
            <pc:docMk/>
            <pc:sldMk cId="3573790918" sldId="441"/>
            <ac:cxnSpMk id="36" creationId="{72F546CF-A0F5-3C6B-5EAA-A48277FE974A}"/>
          </ac:cxnSpMkLst>
        </pc:cxnChg>
        <pc:cxnChg chg="add mod">
          <ac:chgData name="Ingo Bethke" userId="0ace9986-83c7-40d8-aadc-a8d8d7c841c6" providerId="ADAL" clId="{C1C157C9-6F82-E249-9846-58DA70C8FB22}" dt="2024-09-17T10:36:22.873" v="1377" actId="1036"/>
          <ac:cxnSpMkLst>
            <pc:docMk/>
            <pc:sldMk cId="3573790918" sldId="441"/>
            <ac:cxnSpMk id="45" creationId="{9CDA44A8-4C99-2191-EAC7-04EACD56150C}"/>
          </ac:cxnSpMkLst>
        </pc:cxnChg>
      </pc:sldChg>
      <pc:sldChg chg="addSp delSp modSp add mod ord">
        <pc:chgData name="Ingo Bethke" userId="0ace9986-83c7-40d8-aadc-a8d8d7c841c6" providerId="ADAL" clId="{C1C157C9-6F82-E249-9846-58DA70C8FB22}" dt="2024-09-24T07:42:39.359" v="6989" actId="20577"/>
        <pc:sldMkLst>
          <pc:docMk/>
          <pc:sldMk cId="3922302654" sldId="442"/>
        </pc:sldMkLst>
        <pc:spChg chg="add del">
          <ac:chgData name="Ingo Bethke" userId="0ace9986-83c7-40d8-aadc-a8d8d7c841c6" providerId="ADAL" clId="{C1C157C9-6F82-E249-9846-58DA70C8FB22}" dt="2024-09-17T11:01:16.891" v="2425" actId="478"/>
          <ac:spMkLst>
            <pc:docMk/>
            <pc:sldMk cId="3922302654" sldId="442"/>
            <ac:spMk id="3" creationId="{E393B44E-BF41-7122-CE0B-BB0709349B4C}"/>
          </ac:spMkLst>
        </pc:spChg>
        <pc:spChg chg="mod">
          <ac:chgData name="Ingo Bethke" userId="0ace9986-83c7-40d8-aadc-a8d8d7c841c6" providerId="ADAL" clId="{C1C157C9-6F82-E249-9846-58DA70C8FB22}" dt="2024-09-23T11:46:58.702" v="6378" actId="20577"/>
          <ac:spMkLst>
            <pc:docMk/>
            <pc:sldMk cId="3922302654" sldId="442"/>
            <ac:spMk id="6" creationId="{7BE72CB7-A3D9-3E78-D59B-0F72F5E51866}"/>
          </ac:spMkLst>
        </pc:spChg>
        <pc:spChg chg="mod">
          <ac:chgData name="Ingo Bethke" userId="0ace9986-83c7-40d8-aadc-a8d8d7c841c6" providerId="ADAL" clId="{C1C157C9-6F82-E249-9846-58DA70C8FB22}" dt="2024-09-24T07:42:39.359" v="6989" actId="20577"/>
          <ac:spMkLst>
            <pc:docMk/>
            <pc:sldMk cId="3922302654" sldId="442"/>
            <ac:spMk id="7" creationId="{85275E20-790A-58A5-0A7A-59DEF3041FD4}"/>
          </ac:spMkLst>
        </pc:spChg>
      </pc:sldChg>
      <pc:sldChg chg="modSp add mod ord">
        <pc:chgData name="Ingo Bethke" userId="0ace9986-83c7-40d8-aadc-a8d8d7c841c6" providerId="ADAL" clId="{C1C157C9-6F82-E249-9846-58DA70C8FB22}" dt="2024-09-22T13:55:33.293" v="6242" actId="2711"/>
        <pc:sldMkLst>
          <pc:docMk/>
          <pc:sldMk cId="1311477454" sldId="443"/>
        </pc:sldMkLst>
        <pc:spChg chg="mod">
          <ac:chgData name="Ingo Bethke" userId="0ace9986-83c7-40d8-aadc-a8d8d7c841c6" providerId="ADAL" clId="{C1C157C9-6F82-E249-9846-58DA70C8FB22}" dt="2024-09-22T13:55:33.293" v="6242" actId="2711"/>
          <ac:spMkLst>
            <pc:docMk/>
            <pc:sldMk cId="1311477454" sldId="443"/>
            <ac:spMk id="6" creationId="{7BE72CB7-A3D9-3E78-D59B-0F72F5E51866}"/>
          </ac:spMkLst>
        </pc:spChg>
        <pc:spChg chg="mod">
          <ac:chgData name="Ingo Bethke" userId="0ace9986-83c7-40d8-aadc-a8d8d7c841c6" providerId="ADAL" clId="{C1C157C9-6F82-E249-9846-58DA70C8FB22}" dt="2024-09-17T13:25:21.913" v="3254" actId="20577"/>
          <ac:spMkLst>
            <pc:docMk/>
            <pc:sldMk cId="1311477454" sldId="443"/>
            <ac:spMk id="7" creationId="{85275E20-790A-58A5-0A7A-59DEF3041FD4}"/>
          </ac:spMkLst>
        </pc:spChg>
      </pc:sldChg>
      <pc:sldChg chg="addSp delSp modSp add mod">
        <pc:chgData name="Ingo Bethke" userId="0ace9986-83c7-40d8-aadc-a8d8d7c841c6" providerId="ADAL" clId="{C1C157C9-6F82-E249-9846-58DA70C8FB22}" dt="2024-09-23T12:33:27.615" v="6436" actId="20577"/>
        <pc:sldMkLst>
          <pc:docMk/>
          <pc:sldMk cId="1343414685" sldId="444"/>
        </pc:sldMkLst>
        <pc:spChg chg="add del mod">
          <ac:chgData name="Ingo Bethke" userId="0ace9986-83c7-40d8-aadc-a8d8d7c841c6" providerId="ADAL" clId="{C1C157C9-6F82-E249-9846-58DA70C8FB22}" dt="2024-09-22T08:12:20.615" v="5277" actId="478"/>
          <ac:spMkLst>
            <pc:docMk/>
            <pc:sldMk cId="1343414685" sldId="444"/>
            <ac:spMk id="5" creationId="{420EE547-425F-EB22-F37D-3B13004B3D2A}"/>
          </ac:spMkLst>
        </pc:spChg>
        <pc:spChg chg="add del mod">
          <ac:chgData name="Ingo Bethke" userId="0ace9986-83c7-40d8-aadc-a8d8d7c841c6" providerId="ADAL" clId="{C1C157C9-6F82-E249-9846-58DA70C8FB22}" dt="2024-09-22T08:11:48.188" v="5272" actId="478"/>
          <ac:spMkLst>
            <pc:docMk/>
            <pc:sldMk cId="1343414685" sldId="444"/>
            <ac:spMk id="6" creationId="{7BE72CB7-A3D9-3E78-D59B-0F72F5E51866}"/>
          </ac:spMkLst>
        </pc:spChg>
        <pc:spChg chg="mod">
          <ac:chgData name="Ingo Bethke" userId="0ace9986-83c7-40d8-aadc-a8d8d7c841c6" providerId="ADAL" clId="{C1C157C9-6F82-E249-9846-58DA70C8FB22}" dt="2024-09-23T12:33:27.615" v="6436" actId="20577"/>
          <ac:spMkLst>
            <pc:docMk/>
            <pc:sldMk cId="1343414685" sldId="444"/>
            <ac:spMk id="7" creationId="{85275E20-790A-58A5-0A7A-59DEF3041FD4}"/>
          </ac:spMkLst>
        </pc:spChg>
        <pc:spChg chg="add del mod">
          <ac:chgData name="Ingo Bethke" userId="0ace9986-83c7-40d8-aadc-a8d8d7c841c6" providerId="ADAL" clId="{C1C157C9-6F82-E249-9846-58DA70C8FB22}" dt="2024-09-22T08:11:50.415" v="5273" actId="478"/>
          <ac:spMkLst>
            <pc:docMk/>
            <pc:sldMk cId="1343414685" sldId="444"/>
            <ac:spMk id="8" creationId="{4CB2BACE-3D67-0004-650F-D50784ECF83D}"/>
          </ac:spMkLst>
        </pc:spChg>
        <pc:spChg chg="add del mod">
          <ac:chgData name="Ingo Bethke" userId="0ace9986-83c7-40d8-aadc-a8d8d7c841c6" providerId="ADAL" clId="{C1C157C9-6F82-E249-9846-58DA70C8FB22}" dt="2024-09-20T08:23:11.434" v="4285" actId="478"/>
          <ac:spMkLst>
            <pc:docMk/>
            <pc:sldMk cId="1343414685" sldId="444"/>
            <ac:spMk id="9" creationId="{29D59C9A-5E49-D739-760E-A8BDC0097277}"/>
          </ac:spMkLst>
        </pc:spChg>
        <pc:spChg chg="add mod">
          <ac:chgData name="Ingo Bethke" userId="0ace9986-83c7-40d8-aadc-a8d8d7c841c6" providerId="ADAL" clId="{C1C157C9-6F82-E249-9846-58DA70C8FB22}" dt="2024-09-22T13:27:07.701" v="5628" actId="1038"/>
          <ac:spMkLst>
            <pc:docMk/>
            <pc:sldMk cId="1343414685" sldId="444"/>
            <ac:spMk id="9" creationId="{4089ECB3-B755-8661-3855-AD9CA748E812}"/>
          </ac:spMkLst>
        </pc:spChg>
        <pc:spChg chg="add mod">
          <ac:chgData name="Ingo Bethke" userId="0ace9986-83c7-40d8-aadc-a8d8d7c841c6" providerId="ADAL" clId="{C1C157C9-6F82-E249-9846-58DA70C8FB22}" dt="2024-09-22T13:14:26.525" v="5364" actId="1038"/>
          <ac:spMkLst>
            <pc:docMk/>
            <pc:sldMk cId="1343414685" sldId="444"/>
            <ac:spMk id="10" creationId="{694925DA-E8A7-A73C-999C-06F81654E1D4}"/>
          </ac:spMkLst>
        </pc:spChg>
        <pc:spChg chg="add mod">
          <ac:chgData name="Ingo Bethke" userId="0ace9986-83c7-40d8-aadc-a8d8d7c841c6" providerId="ADAL" clId="{C1C157C9-6F82-E249-9846-58DA70C8FB22}" dt="2024-09-22T13:14:26.525" v="5364" actId="1038"/>
          <ac:spMkLst>
            <pc:docMk/>
            <pc:sldMk cId="1343414685" sldId="444"/>
            <ac:spMk id="11" creationId="{D53CC3E7-1E34-7014-B89C-BABA17AA72A4}"/>
          </ac:spMkLst>
        </pc:spChg>
        <pc:spChg chg="add del mod">
          <ac:chgData name="Ingo Bethke" userId="0ace9986-83c7-40d8-aadc-a8d8d7c841c6" providerId="ADAL" clId="{C1C157C9-6F82-E249-9846-58DA70C8FB22}" dt="2024-09-22T13:14:01.520" v="5332"/>
          <ac:spMkLst>
            <pc:docMk/>
            <pc:sldMk cId="1343414685" sldId="444"/>
            <ac:spMk id="12" creationId="{4A9E262F-0001-C441-68E2-7295B6D0D8C7}"/>
          </ac:spMkLst>
        </pc:spChg>
        <pc:spChg chg="add mod">
          <ac:chgData name="Ingo Bethke" userId="0ace9986-83c7-40d8-aadc-a8d8d7c841c6" providerId="ADAL" clId="{C1C157C9-6F82-E249-9846-58DA70C8FB22}" dt="2024-09-22T13:25:15.630" v="5606" actId="207"/>
          <ac:spMkLst>
            <pc:docMk/>
            <pc:sldMk cId="1343414685" sldId="444"/>
            <ac:spMk id="13" creationId="{1B2FC148-5A57-BBBD-F056-EC86FCECDEB9}"/>
          </ac:spMkLst>
        </pc:spChg>
        <pc:spChg chg="add mod">
          <ac:chgData name="Ingo Bethke" userId="0ace9986-83c7-40d8-aadc-a8d8d7c841c6" providerId="ADAL" clId="{C1C157C9-6F82-E249-9846-58DA70C8FB22}" dt="2024-09-22T13:29:14.753" v="5711" actId="1035"/>
          <ac:spMkLst>
            <pc:docMk/>
            <pc:sldMk cId="1343414685" sldId="444"/>
            <ac:spMk id="14" creationId="{B5968FB7-F54D-3D4E-0CD7-58C89F762708}"/>
          </ac:spMkLst>
        </pc:spChg>
        <pc:spChg chg="add mod">
          <ac:chgData name="Ingo Bethke" userId="0ace9986-83c7-40d8-aadc-a8d8d7c841c6" providerId="ADAL" clId="{C1C157C9-6F82-E249-9846-58DA70C8FB22}" dt="2024-09-22T13:30:23.029" v="5716" actId="207"/>
          <ac:spMkLst>
            <pc:docMk/>
            <pc:sldMk cId="1343414685" sldId="444"/>
            <ac:spMk id="24" creationId="{881E83D8-6F5D-5751-B08A-C33E8970D988}"/>
          </ac:spMkLst>
        </pc:spChg>
        <pc:spChg chg="add mod">
          <ac:chgData name="Ingo Bethke" userId="0ace9986-83c7-40d8-aadc-a8d8d7c841c6" providerId="ADAL" clId="{C1C157C9-6F82-E249-9846-58DA70C8FB22}" dt="2024-09-22T13:30:49.728" v="5719" actId="207"/>
          <ac:spMkLst>
            <pc:docMk/>
            <pc:sldMk cId="1343414685" sldId="444"/>
            <ac:spMk id="25" creationId="{D32C810D-398B-165E-4696-A05166E7FC16}"/>
          </ac:spMkLst>
        </pc:spChg>
        <pc:spChg chg="add del mod">
          <ac:chgData name="Ingo Bethke" userId="0ace9986-83c7-40d8-aadc-a8d8d7c841c6" providerId="ADAL" clId="{C1C157C9-6F82-E249-9846-58DA70C8FB22}" dt="2024-09-22T13:24:09.037" v="5593" actId="478"/>
          <ac:spMkLst>
            <pc:docMk/>
            <pc:sldMk cId="1343414685" sldId="444"/>
            <ac:spMk id="26" creationId="{55D1EDB9-C711-1B38-CB2C-EDE9052DFC3D}"/>
          </ac:spMkLst>
        </pc:spChg>
        <pc:spChg chg="add del mod">
          <ac:chgData name="Ingo Bethke" userId="0ace9986-83c7-40d8-aadc-a8d8d7c841c6" providerId="ADAL" clId="{C1C157C9-6F82-E249-9846-58DA70C8FB22}" dt="2024-09-22T13:24:16.570" v="5594" actId="478"/>
          <ac:spMkLst>
            <pc:docMk/>
            <pc:sldMk cId="1343414685" sldId="444"/>
            <ac:spMk id="27" creationId="{A7DB70DF-1D97-5957-F535-6600C8A9F2F6}"/>
          </ac:spMkLst>
        </pc:spChg>
        <pc:spChg chg="add mod">
          <ac:chgData name="Ingo Bethke" userId="0ace9986-83c7-40d8-aadc-a8d8d7c841c6" providerId="ADAL" clId="{C1C157C9-6F82-E249-9846-58DA70C8FB22}" dt="2024-09-22T13:30:40.398" v="5718" actId="207"/>
          <ac:spMkLst>
            <pc:docMk/>
            <pc:sldMk cId="1343414685" sldId="444"/>
            <ac:spMk id="28" creationId="{51C9F933-58F0-9793-7B56-C65C4C9CDA5C}"/>
          </ac:spMkLst>
        </pc:spChg>
        <pc:spChg chg="add mod">
          <ac:chgData name="Ingo Bethke" userId="0ace9986-83c7-40d8-aadc-a8d8d7c841c6" providerId="ADAL" clId="{C1C157C9-6F82-E249-9846-58DA70C8FB22}" dt="2024-09-22T13:30:32.204" v="5717" actId="207"/>
          <ac:spMkLst>
            <pc:docMk/>
            <pc:sldMk cId="1343414685" sldId="444"/>
            <ac:spMk id="29" creationId="{23E029B0-1A21-6B88-52F7-74A37472E682}"/>
          </ac:spMkLst>
        </pc:spChg>
        <pc:spChg chg="add mod">
          <ac:chgData name="Ingo Bethke" userId="0ace9986-83c7-40d8-aadc-a8d8d7c841c6" providerId="ADAL" clId="{C1C157C9-6F82-E249-9846-58DA70C8FB22}" dt="2024-09-22T13:31:05.169" v="5722" actId="207"/>
          <ac:spMkLst>
            <pc:docMk/>
            <pc:sldMk cId="1343414685" sldId="444"/>
            <ac:spMk id="30" creationId="{1CC23160-CB8A-3FD0-482C-091EB3FEA302}"/>
          </ac:spMkLst>
        </pc:spChg>
        <pc:picChg chg="add del mod">
          <ac:chgData name="Ingo Bethke" userId="0ace9986-83c7-40d8-aadc-a8d8d7c841c6" providerId="ADAL" clId="{C1C157C9-6F82-E249-9846-58DA70C8FB22}" dt="2024-09-22T08:11:45.415" v="5271" actId="478"/>
          <ac:picMkLst>
            <pc:docMk/>
            <pc:sldMk cId="1343414685" sldId="444"/>
            <ac:picMk id="3" creationId="{9604BB48-9E53-AA77-243B-D6B71450946B}"/>
          </ac:picMkLst>
        </pc:picChg>
        <pc:cxnChg chg="add mod">
          <ac:chgData name="Ingo Bethke" userId="0ace9986-83c7-40d8-aadc-a8d8d7c841c6" providerId="ADAL" clId="{C1C157C9-6F82-E249-9846-58DA70C8FB22}" dt="2024-09-22T13:18:27.311" v="5478" actId="692"/>
          <ac:cxnSpMkLst>
            <pc:docMk/>
            <pc:sldMk cId="1343414685" sldId="444"/>
            <ac:cxnSpMk id="16" creationId="{B6094332-E5F9-69EA-73C7-4A33664C7232}"/>
          </ac:cxnSpMkLst>
        </pc:cxnChg>
        <pc:cxnChg chg="add mod">
          <ac:chgData name="Ingo Bethke" userId="0ace9986-83c7-40d8-aadc-a8d8d7c841c6" providerId="ADAL" clId="{C1C157C9-6F82-E249-9846-58DA70C8FB22}" dt="2024-09-22T13:18:47.092" v="5482" actId="1076"/>
          <ac:cxnSpMkLst>
            <pc:docMk/>
            <pc:sldMk cId="1343414685" sldId="444"/>
            <ac:cxnSpMk id="17" creationId="{489F5CED-C3D4-AA76-F52B-1E5A9CC755F0}"/>
          </ac:cxnSpMkLst>
        </pc:cxnChg>
        <pc:cxnChg chg="add mod">
          <ac:chgData name="Ingo Bethke" userId="0ace9986-83c7-40d8-aadc-a8d8d7c841c6" providerId="ADAL" clId="{C1C157C9-6F82-E249-9846-58DA70C8FB22}" dt="2024-09-22T13:29:56.338" v="5715" actId="14100"/>
          <ac:cxnSpMkLst>
            <pc:docMk/>
            <pc:sldMk cId="1343414685" sldId="444"/>
            <ac:cxnSpMk id="19" creationId="{EFBE64B4-6FC6-3245-6EC0-19E6386E7C6D}"/>
          </ac:cxnSpMkLst>
        </pc:cxnChg>
        <pc:cxnChg chg="add mod">
          <ac:chgData name="Ingo Bethke" userId="0ace9986-83c7-40d8-aadc-a8d8d7c841c6" providerId="ADAL" clId="{C1C157C9-6F82-E249-9846-58DA70C8FB22}" dt="2024-09-22T13:29:48.273" v="5714" actId="14100"/>
          <ac:cxnSpMkLst>
            <pc:docMk/>
            <pc:sldMk cId="1343414685" sldId="444"/>
            <ac:cxnSpMk id="21" creationId="{8B13E810-7E43-8525-48BE-2939A36965AB}"/>
          </ac:cxnSpMkLst>
        </pc:cxnChg>
      </pc:sldChg>
      <pc:sldChg chg="addSp delSp modSp add mod">
        <pc:chgData name="Ingo Bethke" userId="0ace9986-83c7-40d8-aadc-a8d8d7c841c6" providerId="ADAL" clId="{C1C157C9-6F82-E249-9846-58DA70C8FB22}" dt="2024-09-23T12:33:57.321" v="6440" actId="20577"/>
        <pc:sldMkLst>
          <pc:docMk/>
          <pc:sldMk cId="3138478171" sldId="445"/>
        </pc:sldMkLst>
        <pc:spChg chg="add mod">
          <ac:chgData name="Ingo Bethke" userId="0ace9986-83c7-40d8-aadc-a8d8d7c841c6" providerId="ADAL" clId="{C1C157C9-6F82-E249-9846-58DA70C8FB22}" dt="2024-09-22T13:51:07.020" v="6192" actId="1076"/>
          <ac:spMkLst>
            <pc:docMk/>
            <pc:sldMk cId="3138478171" sldId="445"/>
            <ac:spMk id="2" creationId="{253A14CF-0721-839B-2260-D0584B0ED3DC}"/>
          </ac:spMkLst>
        </pc:spChg>
        <pc:spChg chg="del">
          <ac:chgData name="Ingo Bethke" userId="0ace9986-83c7-40d8-aadc-a8d8d7c841c6" providerId="ADAL" clId="{C1C157C9-6F82-E249-9846-58DA70C8FB22}" dt="2024-09-20T08:19:14.709" v="4063" actId="478"/>
          <ac:spMkLst>
            <pc:docMk/>
            <pc:sldMk cId="3138478171" sldId="445"/>
            <ac:spMk id="5" creationId="{420EE547-425F-EB22-F37D-3B13004B3D2A}"/>
          </ac:spMkLst>
        </pc:spChg>
        <pc:spChg chg="add mod">
          <ac:chgData name="Ingo Bethke" userId="0ace9986-83c7-40d8-aadc-a8d8d7c841c6" providerId="ADAL" clId="{C1C157C9-6F82-E249-9846-58DA70C8FB22}" dt="2024-09-22T13:44:15.267" v="5878" actId="1035"/>
          <ac:spMkLst>
            <pc:docMk/>
            <pc:sldMk cId="3138478171" sldId="445"/>
            <ac:spMk id="5" creationId="{81F9E553-9F71-8C25-173D-A212DB664C78}"/>
          </ac:spMkLst>
        </pc:spChg>
        <pc:spChg chg="mod">
          <ac:chgData name="Ingo Bethke" userId="0ace9986-83c7-40d8-aadc-a8d8d7c841c6" providerId="ADAL" clId="{C1C157C9-6F82-E249-9846-58DA70C8FB22}" dt="2024-09-22T13:51:23.977" v="6194" actId="14100"/>
          <ac:spMkLst>
            <pc:docMk/>
            <pc:sldMk cId="3138478171" sldId="445"/>
            <ac:spMk id="6" creationId="{7BE72CB7-A3D9-3E78-D59B-0F72F5E51866}"/>
          </ac:spMkLst>
        </pc:spChg>
        <pc:spChg chg="mod">
          <ac:chgData name="Ingo Bethke" userId="0ace9986-83c7-40d8-aadc-a8d8d7c841c6" providerId="ADAL" clId="{C1C157C9-6F82-E249-9846-58DA70C8FB22}" dt="2024-09-23T12:33:57.321" v="6440" actId="20577"/>
          <ac:spMkLst>
            <pc:docMk/>
            <pc:sldMk cId="3138478171" sldId="445"/>
            <ac:spMk id="7" creationId="{85275E20-790A-58A5-0A7A-59DEF3041FD4}"/>
          </ac:spMkLst>
        </pc:spChg>
        <pc:picChg chg="del">
          <ac:chgData name="Ingo Bethke" userId="0ace9986-83c7-40d8-aadc-a8d8d7c841c6" providerId="ADAL" clId="{C1C157C9-6F82-E249-9846-58DA70C8FB22}" dt="2024-09-20T08:19:10.554" v="4062" actId="478"/>
          <ac:picMkLst>
            <pc:docMk/>
            <pc:sldMk cId="3138478171" sldId="445"/>
            <ac:picMk id="3" creationId="{9604BB48-9E53-AA77-243B-D6B71450946B}"/>
          </ac:picMkLst>
        </pc:picChg>
        <pc:picChg chg="add mod">
          <ac:chgData name="Ingo Bethke" userId="0ace9986-83c7-40d8-aadc-a8d8d7c841c6" providerId="ADAL" clId="{C1C157C9-6F82-E249-9846-58DA70C8FB22}" dt="2024-09-22T13:37:15.843" v="5744" actId="167"/>
          <ac:picMkLst>
            <pc:docMk/>
            <pc:sldMk cId="3138478171" sldId="445"/>
            <ac:picMk id="3" creationId="{BF5104F4-F151-A901-E7CB-68B8757FA184}"/>
          </ac:picMkLst>
        </pc:picChg>
      </pc:sldChg>
      <pc:sldChg chg="addSp delSp modSp add mod">
        <pc:chgData name="Ingo Bethke" userId="0ace9986-83c7-40d8-aadc-a8d8d7c841c6" providerId="ADAL" clId="{C1C157C9-6F82-E249-9846-58DA70C8FB22}" dt="2024-09-23T12:34:02.789" v="6442" actId="20577"/>
        <pc:sldMkLst>
          <pc:docMk/>
          <pc:sldMk cId="1370555320" sldId="446"/>
        </pc:sldMkLst>
        <pc:spChg chg="del">
          <ac:chgData name="Ingo Bethke" userId="0ace9986-83c7-40d8-aadc-a8d8d7c841c6" providerId="ADAL" clId="{C1C157C9-6F82-E249-9846-58DA70C8FB22}" dt="2024-09-20T08:25:12.725" v="4383" actId="478"/>
          <ac:spMkLst>
            <pc:docMk/>
            <pc:sldMk cId="1370555320" sldId="446"/>
            <ac:spMk id="2" creationId="{253A14CF-0721-839B-2260-D0584B0ED3DC}"/>
          </ac:spMkLst>
        </pc:spChg>
        <pc:spChg chg="add mod">
          <ac:chgData name="Ingo Bethke" userId="0ace9986-83c7-40d8-aadc-a8d8d7c841c6" providerId="ADAL" clId="{C1C157C9-6F82-E249-9846-58DA70C8FB22}" dt="2024-09-22T13:44:52.469" v="5935" actId="1035"/>
          <ac:spMkLst>
            <pc:docMk/>
            <pc:sldMk cId="1370555320" sldId="446"/>
            <ac:spMk id="3" creationId="{B6EE9C4D-D986-C496-AEA9-889E065E49CB}"/>
          </ac:spMkLst>
        </pc:spChg>
        <pc:spChg chg="mod">
          <ac:chgData name="Ingo Bethke" userId="0ace9986-83c7-40d8-aadc-a8d8d7c841c6" providerId="ADAL" clId="{C1C157C9-6F82-E249-9846-58DA70C8FB22}" dt="2024-09-20T08:27:58.104" v="4490" actId="5793"/>
          <ac:spMkLst>
            <pc:docMk/>
            <pc:sldMk cId="1370555320" sldId="446"/>
            <ac:spMk id="6" creationId="{7BE72CB7-A3D9-3E78-D59B-0F72F5E51866}"/>
          </ac:spMkLst>
        </pc:spChg>
        <pc:spChg chg="mod">
          <ac:chgData name="Ingo Bethke" userId="0ace9986-83c7-40d8-aadc-a8d8d7c841c6" providerId="ADAL" clId="{C1C157C9-6F82-E249-9846-58DA70C8FB22}" dt="2024-09-23T12:34:02.789" v="6442" actId="20577"/>
          <ac:spMkLst>
            <pc:docMk/>
            <pc:sldMk cId="1370555320" sldId="446"/>
            <ac:spMk id="7" creationId="{85275E20-790A-58A5-0A7A-59DEF3041FD4}"/>
          </ac:spMkLst>
        </pc:spChg>
        <pc:picChg chg="add mod">
          <ac:chgData name="Ingo Bethke" userId="0ace9986-83c7-40d8-aadc-a8d8d7c841c6" providerId="ADAL" clId="{C1C157C9-6F82-E249-9846-58DA70C8FB22}" dt="2024-09-22T13:37:20.137" v="5745"/>
          <ac:picMkLst>
            <pc:docMk/>
            <pc:sldMk cId="1370555320" sldId="446"/>
            <ac:picMk id="2" creationId="{21EA4697-4EFF-253F-FAAF-88592FA33E02}"/>
          </ac:picMkLst>
        </pc:picChg>
        <pc:picChg chg="add del mod">
          <ac:chgData name="Ingo Bethke" userId="0ace9986-83c7-40d8-aadc-a8d8d7c841c6" providerId="ADAL" clId="{C1C157C9-6F82-E249-9846-58DA70C8FB22}" dt="2024-09-20T08:27:54.600" v="4488" actId="478"/>
          <ac:picMkLst>
            <pc:docMk/>
            <pc:sldMk cId="1370555320" sldId="446"/>
            <ac:picMk id="5" creationId="{A820BFB9-D04E-7AA1-9F18-D0B745168FF4}"/>
          </ac:picMkLst>
        </pc:picChg>
      </pc:sldChg>
      <pc:sldChg chg="addSp modSp add mod ord">
        <pc:chgData name="Ingo Bethke" userId="0ace9986-83c7-40d8-aadc-a8d8d7c841c6" providerId="ADAL" clId="{C1C157C9-6F82-E249-9846-58DA70C8FB22}" dt="2024-09-23T12:34:07.711" v="6444" actId="20577"/>
        <pc:sldMkLst>
          <pc:docMk/>
          <pc:sldMk cId="3102893300" sldId="447"/>
        </pc:sldMkLst>
        <pc:spChg chg="add mod">
          <ac:chgData name="Ingo Bethke" userId="0ace9986-83c7-40d8-aadc-a8d8d7c841c6" providerId="ADAL" clId="{C1C157C9-6F82-E249-9846-58DA70C8FB22}" dt="2024-09-20T08:43:50.967" v="4500" actId="1076"/>
          <ac:spMkLst>
            <pc:docMk/>
            <pc:sldMk cId="3102893300" sldId="447"/>
            <ac:spMk id="2" creationId="{D2012C9F-A1B1-89F9-6A2A-4F7A4852528A}"/>
          </ac:spMkLst>
        </pc:spChg>
        <pc:spChg chg="mod">
          <ac:chgData name="Ingo Bethke" userId="0ace9986-83c7-40d8-aadc-a8d8d7c841c6" providerId="ADAL" clId="{C1C157C9-6F82-E249-9846-58DA70C8FB22}" dt="2024-09-20T08:28:08.867" v="4495" actId="12"/>
          <ac:spMkLst>
            <pc:docMk/>
            <pc:sldMk cId="3102893300" sldId="447"/>
            <ac:spMk id="6" creationId="{7BE72CB7-A3D9-3E78-D59B-0F72F5E51866}"/>
          </ac:spMkLst>
        </pc:spChg>
        <pc:spChg chg="mod">
          <ac:chgData name="Ingo Bethke" userId="0ace9986-83c7-40d8-aadc-a8d8d7c841c6" providerId="ADAL" clId="{C1C157C9-6F82-E249-9846-58DA70C8FB22}" dt="2024-09-23T12:34:07.711" v="6444" actId="20577"/>
          <ac:spMkLst>
            <pc:docMk/>
            <pc:sldMk cId="3102893300" sldId="447"/>
            <ac:spMk id="7" creationId="{85275E20-790A-58A5-0A7A-59DEF3041FD4}"/>
          </ac:spMkLst>
        </pc:spChg>
        <pc:spChg chg="add mod">
          <ac:chgData name="Ingo Bethke" userId="0ace9986-83c7-40d8-aadc-a8d8d7c841c6" providerId="ADAL" clId="{C1C157C9-6F82-E249-9846-58DA70C8FB22}" dt="2024-09-22T13:46:26.234" v="6001" actId="1038"/>
          <ac:spMkLst>
            <pc:docMk/>
            <pc:sldMk cId="3102893300" sldId="447"/>
            <ac:spMk id="8" creationId="{C1072368-6709-25C4-4054-C0D9F371B850}"/>
          </ac:spMkLst>
        </pc:spChg>
        <pc:picChg chg="add mod">
          <ac:chgData name="Ingo Bethke" userId="0ace9986-83c7-40d8-aadc-a8d8d7c841c6" providerId="ADAL" clId="{C1C157C9-6F82-E249-9846-58DA70C8FB22}" dt="2024-09-22T13:37:30.104" v="5747" actId="167"/>
          <ac:picMkLst>
            <pc:docMk/>
            <pc:sldMk cId="3102893300" sldId="447"/>
            <ac:picMk id="3" creationId="{A0F4121E-C86F-2C3C-4E56-849F4F9E56E2}"/>
          </ac:picMkLst>
        </pc:picChg>
        <pc:picChg chg="mod">
          <ac:chgData name="Ingo Bethke" userId="0ace9986-83c7-40d8-aadc-a8d8d7c841c6" providerId="ADAL" clId="{C1C157C9-6F82-E249-9846-58DA70C8FB22}" dt="2024-09-20T08:43:46.361" v="4498" actId="1076"/>
          <ac:picMkLst>
            <pc:docMk/>
            <pc:sldMk cId="3102893300" sldId="447"/>
            <ac:picMk id="5" creationId="{A820BFB9-D04E-7AA1-9F18-D0B745168FF4}"/>
          </ac:picMkLst>
        </pc:picChg>
      </pc:sldChg>
      <pc:sldChg chg="addSp delSp modSp add mod">
        <pc:chgData name="Ingo Bethke" userId="0ace9986-83c7-40d8-aadc-a8d8d7c841c6" providerId="ADAL" clId="{C1C157C9-6F82-E249-9846-58DA70C8FB22}" dt="2024-09-23T12:34:13.096" v="6446" actId="20577"/>
        <pc:sldMkLst>
          <pc:docMk/>
          <pc:sldMk cId="2377969491" sldId="448"/>
        </pc:sldMkLst>
        <pc:spChg chg="add mod">
          <ac:chgData name="Ingo Bethke" userId="0ace9986-83c7-40d8-aadc-a8d8d7c841c6" providerId="ADAL" clId="{C1C157C9-6F82-E249-9846-58DA70C8FB22}" dt="2024-09-22T13:51:38.157" v="6195" actId="255"/>
          <ac:spMkLst>
            <pc:docMk/>
            <pc:sldMk cId="2377969491" sldId="448"/>
            <ac:spMk id="3" creationId="{05901683-0A81-0261-E607-F04F13E2F1FC}"/>
          </ac:spMkLst>
        </pc:spChg>
        <pc:spChg chg="add mod">
          <ac:chgData name="Ingo Bethke" userId="0ace9986-83c7-40d8-aadc-a8d8d7c841c6" providerId="ADAL" clId="{C1C157C9-6F82-E249-9846-58DA70C8FB22}" dt="2024-09-22T13:46:41.215" v="6023" actId="1038"/>
          <ac:spMkLst>
            <pc:docMk/>
            <pc:sldMk cId="2377969491" sldId="448"/>
            <ac:spMk id="5" creationId="{BA89568C-DA07-C586-89B5-2F1DA8BBFB40}"/>
          </ac:spMkLst>
        </pc:spChg>
        <pc:spChg chg="mod">
          <ac:chgData name="Ingo Bethke" userId="0ace9986-83c7-40d8-aadc-a8d8d7c841c6" providerId="ADAL" clId="{C1C157C9-6F82-E249-9846-58DA70C8FB22}" dt="2024-09-20T08:44:49.975" v="4571" actId="20577"/>
          <ac:spMkLst>
            <pc:docMk/>
            <pc:sldMk cId="2377969491" sldId="448"/>
            <ac:spMk id="6" creationId="{7BE72CB7-A3D9-3E78-D59B-0F72F5E51866}"/>
          </ac:spMkLst>
        </pc:spChg>
        <pc:spChg chg="mod">
          <ac:chgData name="Ingo Bethke" userId="0ace9986-83c7-40d8-aadc-a8d8d7c841c6" providerId="ADAL" clId="{C1C157C9-6F82-E249-9846-58DA70C8FB22}" dt="2024-09-23T12:34:13.096" v="6446" actId="20577"/>
          <ac:spMkLst>
            <pc:docMk/>
            <pc:sldMk cId="2377969491" sldId="448"/>
            <ac:spMk id="7" creationId="{85275E20-790A-58A5-0A7A-59DEF3041FD4}"/>
          </ac:spMkLst>
        </pc:spChg>
        <pc:spChg chg="add del mod">
          <ac:chgData name="Ingo Bethke" userId="0ace9986-83c7-40d8-aadc-a8d8d7c841c6" providerId="ADAL" clId="{C1C157C9-6F82-E249-9846-58DA70C8FB22}" dt="2024-09-20T08:45:44.747" v="4591"/>
          <ac:spMkLst>
            <pc:docMk/>
            <pc:sldMk cId="2377969491" sldId="448"/>
            <ac:spMk id="8" creationId="{65603BA4-7054-032B-3E8C-F250A05ABA10}"/>
          </ac:spMkLst>
        </pc:spChg>
        <pc:picChg chg="add mod">
          <ac:chgData name="Ingo Bethke" userId="0ace9986-83c7-40d8-aadc-a8d8d7c841c6" providerId="ADAL" clId="{C1C157C9-6F82-E249-9846-58DA70C8FB22}" dt="2024-09-22T13:37:32.559" v="5748"/>
          <ac:picMkLst>
            <pc:docMk/>
            <pc:sldMk cId="2377969491" sldId="448"/>
            <ac:picMk id="2" creationId="{157C428B-0CFC-8295-99EF-A9F5C21219C9}"/>
          </ac:picMkLst>
        </pc:picChg>
      </pc:sldChg>
      <pc:sldChg chg="addSp modSp add mod">
        <pc:chgData name="Ingo Bethke" userId="0ace9986-83c7-40d8-aadc-a8d8d7c841c6" providerId="ADAL" clId="{C1C157C9-6F82-E249-9846-58DA70C8FB22}" dt="2024-09-23T12:34:18.469" v="6448" actId="20577"/>
        <pc:sldMkLst>
          <pc:docMk/>
          <pc:sldMk cId="4181016718" sldId="449"/>
        </pc:sldMkLst>
        <pc:spChg chg="mod">
          <ac:chgData name="Ingo Bethke" userId="0ace9986-83c7-40d8-aadc-a8d8d7c841c6" providerId="ADAL" clId="{C1C157C9-6F82-E249-9846-58DA70C8FB22}" dt="2024-09-22T13:51:47" v="6196" actId="255"/>
          <ac:spMkLst>
            <pc:docMk/>
            <pc:sldMk cId="4181016718" sldId="449"/>
            <ac:spMk id="3" creationId="{05901683-0A81-0261-E607-F04F13E2F1FC}"/>
          </ac:spMkLst>
        </pc:spChg>
        <pc:spChg chg="add mod">
          <ac:chgData name="Ingo Bethke" userId="0ace9986-83c7-40d8-aadc-a8d8d7c841c6" providerId="ADAL" clId="{C1C157C9-6F82-E249-9846-58DA70C8FB22}" dt="2024-09-22T13:46:09.967" v="5947"/>
          <ac:spMkLst>
            <pc:docMk/>
            <pc:sldMk cId="4181016718" sldId="449"/>
            <ac:spMk id="5" creationId="{1D03DD2D-B3F4-6624-D628-005FFECD46FA}"/>
          </ac:spMkLst>
        </pc:spChg>
        <pc:spChg chg="mod">
          <ac:chgData name="Ingo Bethke" userId="0ace9986-83c7-40d8-aadc-a8d8d7c841c6" providerId="ADAL" clId="{C1C157C9-6F82-E249-9846-58DA70C8FB22}" dt="2024-09-20T08:46:13.001" v="4643" actId="20577"/>
          <ac:spMkLst>
            <pc:docMk/>
            <pc:sldMk cId="4181016718" sldId="449"/>
            <ac:spMk id="6" creationId="{7BE72CB7-A3D9-3E78-D59B-0F72F5E51866}"/>
          </ac:spMkLst>
        </pc:spChg>
        <pc:spChg chg="mod">
          <ac:chgData name="Ingo Bethke" userId="0ace9986-83c7-40d8-aadc-a8d8d7c841c6" providerId="ADAL" clId="{C1C157C9-6F82-E249-9846-58DA70C8FB22}" dt="2024-09-23T12:34:18.469" v="6448" actId="20577"/>
          <ac:spMkLst>
            <pc:docMk/>
            <pc:sldMk cId="4181016718" sldId="449"/>
            <ac:spMk id="7" creationId="{85275E20-790A-58A5-0A7A-59DEF3041FD4}"/>
          </ac:spMkLst>
        </pc:spChg>
        <pc:picChg chg="add mod">
          <ac:chgData name="Ingo Bethke" userId="0ace9986-83c7-40d8-aadc-a8d8d7c841c6" providerId="ADAL" clId="{C1C157C9-6F82-E249-9846-58DA70C8FB22}" dt="2024-09-22T13:37:35.439" v="5749"/>
          <ac:picMkLst>
            <pc:docMk/>
            <pc:sldMk cId="4181016718" sldId="449"/>
            <ac:picMk id="2" creationId="{A4522ACB-DEB6-B48E-641A-D4B78817BF45}"/>
          </ac:picMkLst>
        </pc:picChg>
      </pc:sldChg>
      <pc:sldChg chg="addSp modSp add mod">
        <pc:chgData name="Ingo Bethke" userId="0ace9986-83c7-40d8-aadc-a8d8d7c841c6" providerId="ADAL" clId="{C1C157C9-6F82-E249-9846-58DA70C8FB22}" dt="2024-09-23T12:34:23.499" v="6450" actId="20577"/>
        <pc:sldMkLst>
          <pc:docMk/>
          <pc:sldMk cId="2249567906" sldId="450"/>
        </pc:sldMkLst>
        <pc:spChg chg="mod">
          <ac:chgData name="Ingo Bethke" userId="0ace9986-83c7-40d8-aadc-a8d8d7c841c6" providerId="ADAL" clId="{C1C157C9-6F82-E249-9846-58DA70C8FB22}" dt="2024-09-22T13:51:54.704" v="6197" actId="255"/>
          <ac:spMkLst>
            <pc:docMk/>
            <pc:sldMk cId="2249567906" sldId="450"/>
            <ac:spMk id="3" creationId="{05901683-0A81-0261-E607-F04F13E2F1FC}"/>
          </ac:spMkLst>
        </pc:spChg>
        <pc:spChg chg="add mod">
          <ac:chgData name="Ingo Bethke" userId="0ace9986-83c7-40d8-aadc-a8d8d7c841c6" providerId="ADAL" clId="{C1C157C9-6F82-E249-9846-58DA70C8FB22}" dt="2024-09-22T13:47:01.957" v="6040" actId="1037"/>
          <ac:spMkLst>
            <pc:docMk/>
            <pc:sldMk cId="2249567906" sldId="450"/>
            <ac:spMk id="5" creationId="{A8F10D00-D27E-F1B1-4DBB-A421ABDEC461}"/>
          </ac:spMkLst>
        </pc:spChg>
        <pc:spChg chg="mod">
          <ac:chgData name="Ingo Bethke" userId="0ace9986-83c7-40d8-aadc-a8d8d7c841c6" providerId="ADAL" clId="{C1C157C9-6F82-E249-9846-58DA70C8FB22}" dt="2024-09-22T13:37:43.620" v="5753" actId="20577"/>
          <ac:spMkLst>
            <pc:docMk/>
            <pc:sldMk cId="2249567906" sldId="450"/>
            <ac:spMk id="6" creationId="{7BE72CB7-A3D9-3E78-D59B-0F72F5E51866}"/>
          </ac:spMkLst>
        </pc:spChg>
        <pc:spChg chg="mod">
          <ac:chgData name="Ingo Bethke" userId="0ace9986-83c7-40d8-aadc-a8d8d7c841c6" providerId="ADAL" clId="{C1C157C9-6F82-E249-9846-58DA70C8FB22}" dt="2024-09-23T12:34:23.499" v="6450" actId="20577"/>
          <ac:spMkLst>
            <pc:docMk/>
            <pc:sldMk cId="2249567906" sldId="450"/>
            <ac:spMk id="7" creationId="{85275E20-790A-58A5-0A7A-59DEF3041FD4}"/>
          </ac:spMkLst>
        </pc:spChg>
        <pc:picChg chg="add mod">
          <ac:chgData name="Ingo Bethke" userId="0ace9986-83c7-40d8-aadc-a8d8d7c841c6" providerId="ADAL" clId="{C1C157C9-6F82-E249-9846-58DA70C8FB22}" dt="2024-09-22T13:37:53.163" v="5755" actId="167"/>
          <ac:picMkLst>
            <pc:docMk/>
            <pc:sldMk cId="2249567906" sldId="450"/>
            <ac:picMk id="2" creationId="{80D3619F-9A78-BBB9-A22C-BF37805B46E2}"/>
          </ac:picMkLst>
        </pc:picChg>
      </pc:sldChg>
      <pc:sldChg chg="addSp delSp modSp add mod ord">
        <pc:chgData name="Ingo Bethke" userId="0ace9986-83c7-40d8-aadc-a8d8d7c841c6" providerId="ADAL" clId="{C1C157C9-6F82-E249-9846-58DA70C8FB22}" dt="2024-09-23T12:34:28.269" v="6452" actId="20577"/>
        <pc:sldMkLst>
          <pc:docMk/>
          <pc:sldMk cId="963669094" sldId="451"/>
        </pc:sldMkLst>
        <pc:spChg chg="del">
          <ac:chgData name="Ingo Bethke" userId="0ace9986-83c7-40d8-aadc-a8d8d7c841c6" providerId="ADAL" clId="{C1C157C9-6F82-E249-9846-58DA70C8FB22}" dt="2024-09-20T08:53:07.624" v="4900" actId="478"/>
          <ac:spMkLst>
            <pc:docMk/>
            <pc:sldMk cId="963669094" sldId="451"/>
            <ac:spMk id="3" creationId="{05901683-0A81-0261-E607-F04F13E2F1FC}"/>
          </ac:spMkLst>
        </pc:spChg>
        <pc:spChg chg="add mod">
          <ac:chgData name="Ingo Bethke" userId="0ace9986-83c7-40d8-aadc-a8d8d7c841c6" providerId="ADAL" clId="{C1C157C9-6F82-E249-9846-58DA70C8FB22}" dt="2024-09-22T13:47:23.229" v="6087" actId="1037"/>
          <ac:spMkLst>
            <pc:docMk/>
            <pc:sldMk cId="963669094" sldId="451"/>
            <ac:spMk id="3" creationId="{88A4EDA9-CC4B-F49E-7289-4F3C2C5B0835}"/>
          </ac:spMkLst>
        </pc:spChg>
        <pc:spChg chg="mod">
          <ac:chgData name="Ingo Bethke" userId="0ace9986-83c7-40d8-aadc-a8d8d7c841c6" providerId="ADAL" clId="{C1C157C9-6F82-E249-9846-58DA70C8FB22}" dt="2024-09-22T13:41:44.049" v="5758" actId="20577"/>
          <ac:spMkLst>
            <pc:docMk/>
            <pc:sldMk cId="963669094" sldId="451"/>
            <ac:spMk id="6" creationId="{7BE72CB7-A3D9-3E78-D59B-0F72F5E51866}"/>
          </ac:spMkLst>
        </pc:spChg>
        <pc:spChg chg="mod">
          <ac:chgData name="Ingo Bethke" userId="0ace9986-83c7-40d8-aadc-a8d8d7c841c6" providerId="ADAL" clId="{C1C157C9-6F82-E249-9846-58DA70C8FB22}" dt="2024-09-23T12:34:28.269" v="6452" actId="20577"/>
          <ac:spMkLst>
            <pc:docMk/>
            <pc:sldMk cId="963669094" sldId="451"/>
            <ac:spMk id="7" creationId="{85275E20-790A-58A5-0A7A-59DEF3041FD4}"/>
          </ac:spMkLst>
        </pc:spChg>
        <pc:spChg chg="add mod">
          <ac:chgData name="Ingo Bethke" userId="0ace9986-83c7-40d8-aadc-a8d8d7c841c6" providerId="ADAL" clId="{C1C157C9-6F82-E249-9846-58DA70C8FB22}" dt="2024-09-20T09:00:17.022" v="4948" actId="1076"/>
          <ac:spMkLst>
            <pc:docMk/>
            <pc:sldMk cId="963669094" sldId="451"/>
            <ac:spMk id="8" creationId="{0C980038-4DA4-C15E-5D40-E365D5BDC61A}"/>
          </ac:spMkLst>
        </pc:spChg>
        <pc:spChg chg="add del mod">
          <ac:chgData name="Ingo Bethke" userId="0ace9986-83c7-40d8-aadc-a8d8d7c841c6" providerId="ADAL" clId="{C1C157C9-6F82-E249-9846-58DA70C8FB22}" dt="2024-09-20T09:01:43.278" v="5016" actId="478"/>
          <ac:spMkLst>
            <pc:docMk/>
            <pc:sldMk cId="963669094" sldId="451"/>
            <ac:spMk id="9" creationId="{941713ED-974C-CA2A-3749-DED06420FB11}"/>
          </ac:spMkLst>
        </pc:spChg>
        <pc:picChg chg="add mod">
          <ac:chgData name="Ingo Bethke" userId="0ace9986-83c7-40d8-aadc-a8d8d7c841c6" providerId="ADAL" clId="{C1C157C9-6F82-E249-9846-58DA70C8FB22}" dt="2024-09-22T13:41:01.483" v="5757" actId="167"/>
          <ac:picMkLst>
            <pc:docMk/>
            <pc:sldMk cId="963669094" sldId="451"/>
            <ac:picMk id="2" creationId="{22B8511D-A350-1F8F-6F3D-B27E162313FB}"/>
          </ac:picMkLst>
        </pc:picChg>
        <pc:picChg chg="add mod">
          <ac:chgData name="Ingo Bethke" userId="0ace9986-83c7-40d8-aadc-a8d8d7c841c6" providerId="ADAL" clId="{C1C157C9-6F82-E249-9846-58DA70C8FB22}" dt="2024-09-20T09:00:12.206" v="4947" actId="1076"/>
          <ac:picMkLst>
            <pc:docMk/>
            <pc:sldMk cId="963669094" sldId="451"/>
            <ac:picMk id="5" creationId="{98EB82B9-4B72-D0AE-72A6-796B6FD4DA61}"/>
          </ac:picMkLst>
        </pc:picChg>
      </pc:sldChg>
      <pc:sldChg chg="addSp delSp modSp add mod">
        <pc:chgData name="Ingo Bethke" userId="0ace9986-83c7-40d8-aadc-a8d8d7c841c6" providerId="ADAL" clId="{C1C157C9-6F82-E249-9846-58DA70C8FB22}" dt="2024-09-22T13:47:37.935" v="6131" actId="1037"/>
        <pc:sldMkLst>
          <pc:docMk/>
          <pc:sldMk cId="1728711773" sldId="452"/>
        </pc:sldMkLst>
        <pc:spChg chg="add mod">
          <ac:chgData name="Ingo Bethke" userId="0ace9986-83c7-40d8-aadc-a8d8d7c841c6" providerId="ADAL" clId="{C1C157C9-6F82-E249-9846-58DA70C8FB22}" dt="2024-09-22T13:47:37.935" v="6131" actId="1037"/>
          <ac:spMkLst>
            <pc:docMk/>
            <pc:sldMk cId="1728711773" sldId="452"/>
            <ac:spMk id="5" creationId="{6C0B3FE1-B6FD-FD31-2CC6-5AE26DB8208D}"/>
          </ac:spMkLst>
        </pc:spChg>
        <pc:spChg chg="mod">
          <ac:chgData name="Ingo Bethke" userId="0ace9986-83c7-40d8-aadc-a8d8d7c841c6" providerId="ADAL" clId="{C1C157C9-6F82-E249-9846-58DA70C8FB22}" dt="2024-09-20T09:02:30.222" v="5072" actId="20577"/>
          <ac:spMkLst>
            <pc:docMk/>
            <pc:sldMk cId="1728711773" sldId="452"/>
            <ac:spMk id="6" creationId="{7BE72CB7-A3D9-3E78-D59B-0F72F5E51866}"/>
          </ac:spMkLst>
        </pc:spChg>
        <pc:spChg chg="mod">
          <ac:chgData name="Ingo Bethke" userId="0ace9986-83c7-40d8-aadc-a8d8d7c841c6" providerId="ADAL" clId="{C1C157C9-6F82-E249-9846-58DA70C8FB22}" dt="2024-09-20T09:03:38.005" v="5085" actId="1076"/>
          <ac:spMkLst>
            <pc:docMk/>
            <pc:sldMk cId="1728711773" sldId="452"/>
            <ac:spMk id="8" creationId="{0C980038-4DA4-C15E-5D40-E365D5BDC61A}"/>
          </ac:spMkLst>
        </pc:spChg>
        <pc:spChg chg="add mod">
          <ac:chgData name="Ingo Bethke" userId="0ace9986-83c7-40d8-aadc-a8d8d7c841c6" providerId="ADAL" clId="{C1C157C9-6F82-E249-9846-58DA70C8FB22}" dt="2024-09-20T09:05:04.985" v="5099" actId="14100"/>
          <ac:spMkLst>
            <pc:docMk/>
            <pc:sldMk cId="1728711773" sldId="452"/>
            <ac:spMk id="11" creationId="{1FF3C7BD-54F2-0D75-DD16-5C4A9E3A8F50}"/>
          </ac:spMkLst>
        </pc:spChg>
        <pc:picChg chg="add mod">
          <ac:chgData name="Ingo Bethke" userId="0ace9986-83c7-40d8-aadc-a8d8d7c841c6" providerId="ADAL" clId="{C1C157C9-6F82-E249-9846-58DA70C8FB22}" dt="2024-09-22T13:42:39.219" v="5759"/>
          <ac:picMkLst>
            <pc:docMk/>
            <pc:sldMk cId="1728711773" sldId="452"/>
            <ac:picMk id="2" creationId="{900D4199-4F56-8CA3-0E90-0D47E2AAFC4F}"/>
          </ac:picMkLst>
        </pc:picChg>
        <pc:picChg chg="add mod">
          <ac:chgData name="Ingo Bethke" userId="0ace9986-83c7-40d8-aadc-a8d8d7c841c6" providerId="ADAL" clId="{C1C157C9-6F82-E249-9846-58DA70C8FB22}" dt="2024-09-20T09:03:28.265" v="5082" actId="167"/>
          <ac:picMkLst>
            <pc:docMk/>
            <pc:sldMk cId="1728711773" sldId="452"/>
            <ac:picMk id="3" creationId="{886DC6EA-46CF-554C-7D29-BD325B46F524}"/>
          </ac:picMkLst>
        </pc:picChg>
        <pc:picChg chg="del mod">
          <ac:chgData name="Ingo Bethke" userId="0ace9986-83c7-40d8-aadc-a8d8d7c841c6" providerId="ADAL" clId="{C1C157C9-6F82-E249-9846-58DA70C8FB22}" dt="2024-09-20T09:02:54.427" v="5073" actId="478"/>
          <ac:picMkLst>
            <pc:docMk/>
            <pc:sldMk cId="1728711773" sldId="452"/>
            <ac:picMk id="5" creationId="{98EB82B9-4B72-D0AE-72A6-796B6FD4DA61}"/>
          </ac:picMkLst>
        </pc:picChg>
        <pc:picChg chg="add mod">
          <ac:chgData name="Ingo Bethke" userId="0ace9986-83c7-40d8-aadc-a8d8d7c841c6" providerId="ADAL" clId="{C1C157C9-6F82-E249-9846-58DA70C8FB22}" dt="2024-09-20T09:04:54.917" v="5096" actId="167"/>
          <ac:picMkLst>
            <pc:docMk/>
            <pc:sldMk cId="1728711773" sldId="452"/>
            <ac:picMk id="10" creationId="{892BB564-5540-8267-4C57-C2E279666485}"/>
          </ac:picMkLst>
        </pc:picChg>
      </pc:sldChg>
      <pc:sldChg chg="modSp add">
        <pc:chgData name="Ingo Bethke" userId="0ace9986-83c7-40d8-aadc-a8d8d7c841c6" providerId="ADAL" clId="{C1C157C9-6F82-E249-9846-58DA70C8FB22}" dt="2024-09-21T11:10:18.513" v="5125" actId="14826"/>
        <pc:sldMkLst>
          <pc:docMk/>
          <pc:sldMk cId="3902687477" sldId="453"/>
        </pc:sldMkLst>
        <pc:picChg chg="mod">
          <ac:chgData name="Ingo Bethke" userId="0ace9986-83c7-40d8-aadc-a8d8d7c841c6" providerId="ADAL" clId="{C1C157C9-6F82-E249-9846-58DA70C8FB22}" dt="2024-09-21T11:10:18.513" v="5125" actId="14826"/>
          <ac:picMkLst>
            <pc:docMk/>
            <pc:sldMk cId="3902687477" sldId="453"/>
            <ac:picMk id="6146" creationId="{B32A1207-1411-A954-C5D8-68ED741B8BC9}"/>
          </ac:picMkLst>
        </pc:picChg>
      </pc:sldChg>
      <pc:sldChg chg="add del">
        <pc:chgData name="Ingo Bethke" userId="0ace9986-83c7-40d8-aadc-a8d8d7c841c6" providerId="ADAL" clId="{C1C157C9-6F82-E249-9846-58DA70C8FB22}" dt="2024-09-21T11:09:16.802" v="5124"/>
        <pc:sldMkLst>
          <pc:docMk/>
          <pc:sldMk cId="1309977123" sldId="454"/>
        </pc:sldMkLst>
      </pc:sldChg>
      <pc:sldChg chg="addSp delSp modSp add mod">
        <pc:chgData name="Ingo Bethke" userId="0ace9986-83c7-40d8-aadc-a8d8d7c841c6" providerId="ADAL" clId="{C1C157C9-6F82-E249-9846-58DA70C8FB22}" dt="2024-09-23T12:33:52.901" v="6438" actId="20577"/>
        <pc:sldMkLst>
          <pc:docMk/>
          <pc:sldMk cId="2971059709" sldId="454"/>
        </pc:sldMkLst>
        <pc:spChg chg="mod">
          <ac:chgData name="Ingo Bethke" userId="0ace9986-83c7-40d8-aadc-a8d8d7c841c6" providerId="ADAL" clId="{C1C157C9-6F82-E249-9846-58DA70C8FB22}" dt="2024-09-23T12:33:52.901" v="6438" actId="20577"/>
          <ac:spMkLst>
            <pc:docMk/>
            <pc:sldMk cId="2971059709" sldId="454"/>
            <ac:spMk id="7" creationId="{85275E20-790A-58A5-0A7A-59DEF3041FD4}"/>
          </ac:spMkLst>
        </pc:spChg>
        <pc:spChg chg="add mod">
          <ac:chgData name="Ingo Bethke" userId="0ace9986-83c7-40d8-aadc-a8d8d7c841c6" providerId="ADAL" clId="{C1C157C9-6F82-E249-9846-58DA70C8FB22}" dt="2024-09-22T13:43:46.913" v="5828" actId="1038"/>
          <ac:spMkLst>
            <pc:docMk/>
            <pc:sldMk cId="2971059709" sldId="454"/>
            <ac:spMk id="9" creationId="{5F3435F3-A411-A231-F630-47E084605A03}"/>
          </ac:spMkLst>
        </pc:spChg>
        <pc:spChg chg="add del mod">
          <ac:chgData name="Ingo Bethke" userId="0ace9986-83c7-40d8-aadc-a8d8d7c841c6" providerId="ADAL" clId="{C1C157C9-6F82-E249-9846-58DA70C8FB22}" dt="2024-09-22T13:43:52.747" v="5830" actId="21"/>
          <ac:spMkLst>
            <pc:docMk/>
            <pc:sldMk cId="2971059709" sldId="454"/>
            <ac:spMk id="10" creationId="{6F86A538-8382-E3C5-5D7B-374A2737C5AD}"/>
          </ac:spMkLst>
        </pc:spChg>
        <pc:picChg chg="add mod">
          <ac:chgData name="Ingo Bethke" userId="0ace9986-83c7-40d8-aadc-a8d8d7c841c6" providerId="ADAL" clId="{C1C157C9-6F82-E249-9846-58DA70C8FB22}" dt="2024-09-22T13:36:54.746" v="5741" actId="14100"/>
          <ac:picMkLst>
            <pc:docMk/>
            <pc:sldMk cId="2971059709" sldId="454"/>
            <ac:picMk id="8" creationId="{9D3DEF6D-661C-E25F-E0FA-801C1BEF57EB}"/>
          </ac:picMkLst>
        </pc:picChg>
      </pc:sldChg>
      <pc:sldChg chg="addSp delSp add mod">
        <pc:chgData name="Ingo Bethke" userId="0ace9986-83c7-40d8-aadc-a8d8d7c841c6" providerId="ADAL" clId="{C1C157C9-6F82-E249-9846-58DA70C8FB22}" dt="2024-09-24T07:28:01.998" v="6489" actId="478"/>
        <pc:sldMkLst>
          <pc:docMk/>
          <pc:sldMk cId="2321753627" sldId="455"/>
        </pc:sldMkLst>
        <pc:spChg chg="add del">
          <ac:chgData name="Ingo Bethke" userId="0ace9986-83c7-40d8-aadc-a8d8d7c841c6" providerId="ADAL" clId="{C1C157C9-6F82-E249-9846-58DA70C8FB22}" dt="2024-09-24T07:28:01.998" v="6489" actId="478"/>
          <ac:spMkLst>
            <pc:docMk/>
            <pc:sldMk cId="2321753627" sldId="455"/>
            <ac:spMk id="3" creationId="{1B3CBF1C-D631-1A1E-281E-9EE1238E3DC1}"/>
          </ac:spMkLst>
        </pc:spChg>
      </pc:sldChg>
      <pc:sldChg chg="add del">
        <pc:chgData name="Ingo Bethke" userId="0ace9986-83c7-40d8-aadc-a8d8d7c841c6" providerId="ADAL" clId="{C1C157C9-6F82-E249-9846-58DA70C8FB22}" dt="2024-09-22T13:37:03.750" v="5742" actId="2696"/>
        <pc:sldMkLst>
          <pc:docMk/>
          <pc:sldMk cId="2611424453" sldId="455"/>
        </pc:sldMkLst>
      </pc:sldChg>
      <pc:sldChg chg="add">
        <pc:chgData name="Ingo Bethke" userId="0ace9986-83c7-40d8-aadc-a8d8d7c841c6" providerId="ADAL" clId="{C1C157C9-6F82-E249-9846-58DA70C8FB22}" dt="2024-09-24T07:31:57.557" v="6570"/>
        <pc:sldMkLst>
          <pc:docMk/>
          <pc:sldMk cId="3448946615" sldId="456"/>
        </pc:sldMkLst>
      </pc:sldChg>
      <pc:sldChg chg="modSp add mod ord">
        <pc:chgData name="Ingo Bethke" userId="0ace9986-83c7-40d8-aadc-a8d8d7c841c6" providerId="ADAL" clId="{C1C157C9-6F82-E249-9846-58DA70C8FB22}" dt="2024-09-24T07:40:07.952" v="6905" actId="122"/>
        <pc:sldMkLst>
          <pc:docMk/>
          <pc:sldMk cId="4193613726" sldId="457"/>
        </pc:sldMkLst>
        <pc:spChg chg="mod">
          <ac:chgData name="Ingo Bethke" userId="0ace9986-83c7-40d8-aadc-a8d8d7c841c6" providerId="ADAL" clId="{C1C157C9-6F82-E249-9846-58DA70C8FB22}" dt="2024-09-24T07:40:07.952" v="6905" actId="122"/>
          <ac:spMkLst>
            <pc:docMk/>
            <pc:sldMk cId="4193613726" sldId="457"/>
            <ac:spMk id="17" creationId="{2660710F-6145-2F83-61A8-7362FC738112}"/>
          </ac:spMkLst>
        </pc:spChg>
      </pc:sldChg>
      <pc:sldChg chg="modSp add mod">
        <pc:chgData name="Ingo Bethke" userId="0ace9986-83c7-40d8-aadc-a8d8d7c841c6" providerId="ADAL" clId="{C1C157C9-6F82-E249-9846-58DA70C8FB22}" dt="2024-09-24T07:40:37.467" v="6917" actId="20577"/>
        <pc:sldMkLst>
          <pc:docMk/>
          <pc:sldMk cId="3429351961" sldId="458"/>
        </pc:sldMkLst>
        <pc:spChg chg="mod">
          <ac:chgData name="Ingo Bethke" userId="0ace9986-83c7-40d8-aadc-a8d8d7c841c6" providerId="ADAL" clId="{C1C157C9-6F82-E249-9846-58DA70C8FB22}" dt="2024-09-24T07:40:37.467" v="6917" actId="20577"/>
          <ac:spMkLst>
            <pc:docMk/>
            <pc:sldMk cId="3429351961" sldId="458"/>
            <ac:spMk id="17" creationId="{2660710F-6145-2F83-61A8-7362FC738112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A3372-C556-4678-ADCC-3266A1490628}" type="datetimeFigureOut">
              <a:rPr lang="nb-NO" smtClean="0"/>
              <a:t>24.09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E8C22-00AC-4214-B956-F6F3EF5B7F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81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597008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21232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75524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29992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105949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374561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730528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718832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792312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641385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371016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287638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3710168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858782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9122663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1489782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5434090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7848035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3983236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0219927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3248056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00203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596661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8277809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3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6009928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3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9407129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3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129593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158695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072931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676790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190633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074056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81666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.pn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png"/><Relationship Id="rId4" Type="http://schemas.openxmlformats.org/officeDocument/2006/relationships/image" Target="../media/image3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2.jpeg"/><Relationship Id="rId7" Type="http://schemas.openxmlformats.org/officeDocument/2006/relationships/image" Target="../media/image6.emf"/><Relationship Id="rId12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image" Target="../media/image3.png"/><Relationship Id="rId10" Type="http://schemas.openxmlformats.org/officeDocument/2006/relationships/image" Target="../media/image9.png"/><Relationship Id="rId4" Type="http://schemas.openxmlformats.org/officeDocument/2006/relationships/image" Target="../media/image1.png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A04FFC8B-8507-4971-90CF-18E06BA18CB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A2B6300E-F1D0-4E99-927E-4D8E729BA09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50544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504" y="3607651"/>
            <a:ext cx="12190491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4293099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4100735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720091" y="6518975"/>
            <a:ext cx="5664708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3A271FE-A3BC-41C8-BA7B-87AC3FF0748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F6D0544-5789-44C1-9A9A-B3619B3BBEA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4C11FFF-9033-4CE4-958A-31D14286BD4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FE6B5D8-5BF7-4B00-B603-54140A6AEAF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2761660A-A099-4D6D-8E9F-0667221561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67D0CA04-7BA6-49F7-9AA7-F3A8B800B4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0107BE7A-D25D-44D7-83F7-415179822359}"/>
              </a:ext>
            </a:extLst>
          </p:cNvPr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e 12">
            <a:extLst>
              <a:ext uri="{FF2B5EF4-FFF2-40B4-BE49-F238E27FC236}">
                <a16:creationId xmlns:a16="http://schemas.microsoft.com/office/drawing/2014/main" id="{C5AE5843-E707-4657-BE77-0B784C8939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7" name="Bilde 20">
            <a:extLst>
              <a:ext uri="{FF2B5EF4-FFF2-40B4-BE49-F238E27FC236}">
                <a16:creationId xmlns:a16="http://schemas.microsoft.com/office/drawing/2014/main" id="{EBFC77C3-A081-4CAE-BB5B-4E0F5B200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17F5E75-CF4C-41B1-895B-F7C0EF3FEF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9" name="Bilde 20">
            <a:extLst>
              <a:ext uri="{FF2B5EF4-FFF2-40B4-BE49-F238E27FC236}">
                <a16:creationId xmlns:a16="http://schemas.microsoft.com/office/drawing/2014/main" id="{80DF4948-A775-4B30-8100-40A60FC5E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15" name="Bilde 20">
            <a:extLst>
              <a:ext uri="{FF2B5EF4-FFF2-40B4-BE49-F238E27FC236}">
                <a16:creationId xmlns:a16="http://schemas.microsoft.com/office/drawing/2014/main" id="{29F110AA-2A61-4DA3-8386-92072BF2E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68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5162"/>
            <a:ext cx="12192000" cy="6016752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B4B32C8C-B3FB-46BB-8134-8308C1F68DB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D827C2E4-FA16-457D-B48B-3A5FE25931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88517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2" imgH="357" progId="TCLayout.ActiveDocument.1">
                  <p:embed/>
                </p:oleObj>
              </mc:Choice>
              <mc:Fallback>
                <p:oleObj name="think-cell Slide" r:id="rId6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720983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2528619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663941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6FD5A64-6217-4874-A328-F894CA1BA4C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ADF4371-BDB7-49AE-BFDD-7E5F3B8280A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3E3D3EC-BA4E-431C-9C63-E195EFEE948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D97C59F-B293-4C9E-8B74-99076A1FAAC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5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59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6192091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14582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285330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10938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25099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6193615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34127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02879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7" progId="TCLayout.ActiveDocument.1">
                  <p:embed/>
                </p:oleObj>
              </mc:Choice>
              <mc:Fallback>
                <p:oleObj name="think-cell Slide" r:id="rId3" imgW="352" imgH="357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4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720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6196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6192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9427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>
            <a:extLst>
              <a:ext uri="{FF2B5EF4-FFF2-40B4-BE49-F238E27FC236}">
                <a16:creationId xmlns:a16="http://schemas.microsoft.com/office/drawing/2014/main" id="{8A2348A0-15E3-4362-9782-EE3A08E8AF4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33400" y="1429023"/>
            <a:ext cx="10938691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3400" y="1912862"/>
            <a:ext cx="10938691" cy="42799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/>
          <p:cNvCxnSpPr>
            <a:cxnSpLocks/>
          </p:cNvCxnSpPr>
          <p:nvPr userDrawn="1"/>
        </p:nvCxnSpPr>
        <p:spPr>
          <a:xfrm>
            <a:off x="533400" y="18000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Bilde 20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900601F6-A1B9-4858-8413-6C09ADD9E5B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42A6663-FEE6-4609-9351-4BD47781FC9C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23" name="Bilde 20">
            <a:extLst>
              <a:ext uri="{FF2B5EF4-FFF2-40B4-BE49-F238E27FC236}">
                <a16:creationId xmlns:a16="http://schemas.microsoft.com/office/drawing/2014/main" id="{1C9621FE-2E3F-4A46-B718-1612A431E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24" name="Bilde 20">
            <a:extLst>
              <a:ext uri="{FF2B5EF4-FFF2-40B4-BE49-F238E27FC236}">
                <a16:creationId xmlns:a16="http://schemas.microsoft.com/office/drawing/2014/main" id="{3CE2D302-7046-4945-84FE-150D17D450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53" r:id="rId9"/>
    <p:sldLayoutId id="2147483655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rgbClr val="828990"/>
        </a:buClr>
        <a:buFont typeface="Arial" pitchFamily="34" charset="0"/>
        <a:buChar char="›"/>
        <a:defRPr sz="1600" kern="1200">
          <a:solidFill>
            <a:srgbClr val="4E576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4E5761"/>
          </a:solidFill>
          <a:latin typeface="+mn-lt"/>
          <a:ea typeface="+mn-ea"/>
          <a:cs typeface="+mn-cs"/>
        </a:defRPr>
      </a:lvl2pPr>
      <a:lvl3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1200" kern="1200">
          <a:solidFill>
            <a:srgbClr val="697078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NorESMhub/NorCPM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0.png"/><Relationship Id="rId4" Type="http://schemas.openxmlformats.org/officeDocument/2006/relationships/image" Target="../media/image25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14.png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14.png"/><Relationship Id="rId5" Type="http://schemas.openxmlformats.org/officeDocument/2006/relationships/image" Target="../media/image16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40.png"/><Relationship Id="rId4" Type="http://schemas.openxmlformats.org/officeDocument/2006/relationships/image" Target="../media/image23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40.png"/><Relationship Id="rId4" Type="http://schemas.openxmlformats.org/officeDocument/2006/relationships/image" Target="../media/image2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936557"/>
            <a:ext cx="10808888" cy="984885"/>
          </a:xfrm>
        </p:spPr>
        <p:txBody>
          <a:bodyPr/>
          <a:lstStyle/>
          <a:p>
            <a:r>
              <a:rPr lang="en-US" sz="3200" dirty="0"/>
              <a:t>Ready-to-use setup for high-frequent </a:t>
            </a:r>
            <a:r>
              <a:rPr lang="en-US" sz="3200" dirty="0" err="1"/>
              <a:t>EnKF</a:t>
            </a:r>
            <a:r>
              <a:rPr lang="en-US" sz="3200" dirty="0"/>
              <a:t> assimilation with NorESM2</a:t>
            </a:r>
            <a:endParaRPr lang="nb-NO" sz="3200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94145" y="4219227"/>
            <a:ext cx="9982093" cy="1428083"/>
          </a:xfrm>
        </p:spPr>
        <p:txBody>
          <a:bodyPr/>
          <a:lstStyle/>
          <a:p>
            <a:r>
              <a:rPr lang="nb-NO" sz="1600" dirty="0"/>
              <a:t>Ingo bethke</a:t>
            </a:r>
            <a:r>
              <a:rPr lang="nb-NO" sz="1600" baseline="30000" dirty="0"/>
              <a:t>1,2</a:t>
            </a:r>
            <a:r>
              <a:rPr lang="nb-NO" sz="1600" dirty="0"/>
              <a:t>   </a:t>
            </a:r>
          </a:p>
          <a:p>
            <a:endParaRPr lang="nb-NO" sz="1600" dirty="0"/>
          </a:p>
          <a:p>
            <a:r>
              <a:rPr lang="nb-NO" sz="1200" baseline="30000" dirty="0"/>
              <a:t>1</a:t>
            </a:r>
            <a:r>
              <a:rPr lang="nb-NO" sz="1200" dirty="0"/>
              <a:t>University </a:t>
            </a:r>
            <a:r>
              <a:rPr lang="nb-NO" sz="1200" dirty="0" err="1"/>
              <a:t>of</a:t>
            </a:r>
            <a:r>
              <a:rPr lang="nb-NO" sz="1200" dirty="0"/>
              <a:t> Bergen</a:t>
            </a:r>
          </a:p>
          <a:p>
            <a:r>
              <a:rPr lang="nb-NO" sz="1200" baseline="30000" dirty="0"/>
              <a:t>2</a:t>
            </a:r>
            <a:r>
              <a:rPr lang="nb-NO" sz="1200" dirty="0"/>
              <a:t>Bjerknes </a:t>
            </a:r>
            <a:r>
              <a:rPr lang="nb-NO" sz="1200" dirty="0" err="1"/>
              <a:t>centre</a:t>
            </a:r>
            <a:r>
              <a:rPr lang="nb-NO" sz="1200" dirty="0"/>
              <a:t> for </a:t>
            </a:r>
            <a:r>
              <a:rPr lang="nb-NO" sz="1200" dirty="0" err="1"/>
              <a:t>climate</a:t>
            </a:r>
            <a:r>
              <a:rPr lang="nb-NO" sz="1200" dirty="0"/>
              <a:t> </a:t>
            </a:r>
            <a:r>
              <a:rPr lang="nb-NO" sz="1200" dirty="0" err="1"/>
              <a:t>research</a:t>
            </a:r>
            <a:r>
              <a:rPr lang="nb-NO" sz="1200" dirty="0"/>
              <a:t> </a:t>
            </a:r>
          </a:p>
          <a:p>
            <a:endParaRPr lang="nb-NO" sz="1200" dirty="0"/>
          </a:p>
          <a:p>
            <a:r>
              <a:rPr lang="nb-NO" sz="1200" dirty="0"/>
              <a:t>EMAIL: </a:t>
            </a:r>
            <a:r>
              <a:rPr lang="nb-NO" sz="1200" dirty="0" err="1"/>
              <a:t>ingo.bethke@uib.no</a:t>
            </a:r>
            <a:endParaRPr lang="nb-NO" sz="1200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720091" y="6518975"/>
            <a:ext cx="6733332" cy="192360"/>
          </a:xfrm>
        </p:spPr>
        <p:txBody>
          <a:bodyPr/>
          <a:lstStyle/>
          <a:p>
            <a:r>
              <a:rPr lang="nb-NO" dirty="0"/>
              <a:t>24 September 2024, Ines2-interim </a:t>
            </a:r>
            <a:r>
              <a:rPr lang="nb-NO" dirty="0" err="1"/>
              <a:t>meeting</a:t>
            </a:r>
            <a:r>
              <a:rPr lang="nb-NO" dirty="0"/>
              <a:t> </a:t>
            </a:r>
            <a:r>
              <a:rPr lang="nb-NO" dirty="0" err="1"/>
              <a:t>on</a:t>
            </a:r>
            <a:r>
              <a:rPr lang="nb-NO" dirty="0"/>
              <a:t> </a:t>
            </a:r>
            <a:r>
              <a:rPr lang="nb-NO" dirty="0" err="1"/>
              <a:t>noresm</a:t>
            </a:r>
            <a:r>
              <a:rPr lang="nb-NO" dirty="0"/>
              <a:t> </a:t>
            </a:r>
            <a:r>
              <a:rPr lang="nb-NO" dirty="0" err="1"/>
              <a:t>development</a:t>
            </a:r>
            <a:r>
              <a:rPr lang="nb-NO" dirty="0"/>
              <a:t>, Bergen</a:t>
            </a:r>
          </a:p>
        </p:txBody>
      </p:sp>
    </p:spTree>
    <p:extLst>
      <p:ext uri="{BB962C8B-B14F-4D97-AF65-F5344CB8AC3E}">
        <p14:creationId xmlns:p14="http://schemas.microsoft.com/office/powerpoint/2010/main" val="22310843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A2AF2D-00B9-1ED9-F570-D357C96D0B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0</a:t>
            </a:fld>
            <a:endParaRPr lang="nb-NO"/>
          </a:p>
        </p:txBody>
      </p:sp>
      <p:pic>
        <p:nvPicPr>
          <p:cNvPr id="3" name="Picture 2" descr="A chart with text and numbers&#10;&#10;Description automatically generated with medium confidence">
            <a:extLst>
              <a:ext uri="{FF2B5EF4-FFF2-40B4-BE49-F238E27FC236}">
                <a16:creationId xmlns:a16="http://schemas.microsoft.com/office/drawing/2014/main" id="{98A82206-EC02-EDC9-2658-28FB10341C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30000"/>
                    </a14:imgEffect>
                    <a14:imgEffect>
                      <a14:brightnessContrast contrast="-1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4772" y="369687"/>
            <a:ext cx="11182456" cy="642500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12684F2-D2A9-995B-6149-00F1100A99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NO" sz="2200" dirty="0"/>
              <a:t>NorCPM roadmap towards DCPP CMIP7  </a:t>
            </a:r>
            <a:r>
              <a:rPr lang="en-US" sz="2200" dirty="0"/>
              <a:t> </a:t>
            </a:r>
            <a:endParaRPr lang="en-NO" sz="2200" dirty="0"/>
          </a:p>
        </p:txBody>
      </p:sp>
    </p:spTree>
    <p:extLst>
      <p:ext uri="{BB962C8B-B14F-4D97-AF65-F5344CB8AC3E}">
        <p14:creationId xmlns:p14="http://schemas.microsoft.com/office/powerpoint/2010/main" val="14158754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1</a:t>
            </a:fld>
            <a:endParaRPr lang="nb-NO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660710F-6145-2F83-61A8-7362FC738112}"/>
              </a:ext>
            </a:extLst>
          </p:cNvPr>
          <p:cNvSpPr txBox="1"/>
          <p:nvPr/>
        </p:nvSpPr>
        <p:spPr>
          <a:xfrm>
            <a:off x="1019332" y="3094434"/>
            <a:ext cx="102832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dirty="0"/>
              <a:t>User guide</a:t>
            </a:r>
            <a:endParaRPr lang="en-NO" sz="3000" dirty="0"/>
          </a:p>
        </p:txBody>
      </p:sp>
    </p:spTree>
    <p:extLst>
      <p:ext uri="{BB962C8B-B14F-4D97-AF65-F5344CB8AC3E}">
        <p14:creationId xmlns:p14="http://schemas.microsoft.com/office/powerpoint/2010/main" val="41936137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66F0120C-0E93-B030-765F-CD70CFE7781B}"/>
              </a:ext>
            </a:extLst>
          </p:cNvPr>
          <p:cNvSpPr txBox="1"/>
          <p:nvPr/>
        </p:nvSpPr>
        <p:spPr>
          <a:xfrm>
            <a:off x="7241463" y="4886766"/>
            <a:ext cx="501932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-1_historical_18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-1_piControl_18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_piControl_19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_19811115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_19811115_continue20220915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test_19811115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hindcast1_20230115_start.sh</a:t>
            </a:r>
          </a:p>
          <a:p>
            <a:r>
              <a:rPr lang="en-GB" sz="1200" dirty="0" err="1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setmach.sh</a:t>
            </a:r>
            <a:endParaRPr lang="en-GB" sz="1200" dirty="0">
              <a:solidFill>
                <a:srgbClr val="2FBD1D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103F84-D778-4555-0B08-CBD4FFE9DBEF}"/>
              </a:ext>
            </a:extLst>
          </p:cNvPr>
          <p:cNvSpPr txBox="1"/>
          <p:nvPr/>
        </p:nvSpPr>
        <p:spPr>
          <a:xfrm>
            <a:off x="399010" y="1075823"/>
            <a:ext cx="1042139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upports </a:t>
            </a:r>
            <a:r>
              <a:rPr lang="en-NO" b="1" dirty="0"/>
              <a:t>multiple ESM versions, </a:t>
            </a:r>
            <a:r>
              <a:rPr lang="en-NO" b="1" i="1" dirty="0"/>
              <a:t>assimilation schemes</a:t>
            </a:r>
            <a:r>
              <a:rPr lang="en-NO" b="1" dirty="0"/>
              <a:t> and </a:t>
            </a:r>
            <a:r>
              <a:rPr lang="en-NO" b="1" i="1" dirty="0"/>
              <a:t>experiment setup environ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ultiple users can contribute to the same repository without interfering with each other's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lexible, well-structured and organized; fully version controlled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uitable for use with NorESM1, NorESM2 and later versions   </a:t>
            </a:r>
            <a:r>
              <a:rPr lang="en-NO" dirty="0"/>
              <a:t>   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7C514B9-A85F-2C23-DCCA-CF6828A410A5}"/>
              </a:ext>
            </a:extLst>
          </p:cNvPr>
          <p:cNvSpPr/>
          <p:nvPr/>
        </p:nvSpPr>
        <p:spPr>
          <a:xfrm>
            <a:off x="3418726" y="2224738"/>
            <a:ext cx="1072900" cy="4435246"/>
          </a:xfrm>
          <a:prstGeom prst="rect">
            <a:avLst/>
          </a:prstGeom>
          <a:solidFill>
            <a:srgbClr val="FFFF00">
              <a:alpha val="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CC0DEC-4A1C-BAB0-C9EF-3F1AC081F224}"/>
              </a:ext>
            </a:extLst>
          </p:cNvPr>
          <p:cNvSpPr txBox="1"/>
          <p:nvPr/>
        </p:nvSpPr>
        <p:spPr>
          <a:xfrm>
            <a:off x="49518" y="2276349"/>
            <a:ext cx="12087063" cy="4383634"/>
          </a:xfrm>
          <a:prstGeom prst="rect">
            <a:avLst/>
          </a:prstGeom>
          <a:noFill/>
          <a:ln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2087063"/>
                      <a:gd name="connsiteY0" fmla="*/ 0 h 4383634"/>
                      <a:gd name="connsiteX1" fmla="*/ 454704 w 12087063"/>
                      <a:gd name="connsiteY1" fmla="*/ 0 h 4383634"/>
                      <a:gd name="connsiteX2" fmla="*/ 667666 w 12087063"/>
                      <a:gd name="connsiteY2" fmla="*/ 0 h 4383634"/>
                      <a:gd name="connsiteX3" fmla="*/ 1484982 w 12087063"/>
                      <a:gd name="connsiteY3" fmla="*/ 0 h 4383634"/>
                      <a:gd name="connsiteX4" fmla="*/ 1939686 w 12087063"/>
                      <a:gd name="connsiteY4" fmla="*/ 0 h 4383634"/>
                      <a:gd name="connsiteX5" fmla="*/ 2394390 w 12087063"/>
                      <a:gd name="connsiteY5" fmla="*/ 0 h 4383634"/>
                      <a:gd name="connsiteX6" fmla="*/ 3211705 w 12087063"/>
                      <a:gd name="connsiteY6" fmla="*/ 0 h 4383634"/>
                      <a:gd name="connsiteX7" fmla="*/ 3545538 w 12087063"/>
                      <a:gd name="connsiteY7" fmla="*/ 0 h 4383634"/>
                      <a:gd name="connsiteX8" fmla="*/ 4362854 w 12087063"/>
                      <a:gd name="connsiteY8" fmla="*/ 0 h 4383634"/>
                      <a:gd name="connsiteX9" fmla="*/ 5180170 w 12087063"/>
                      <a:gd name="connsiteY9" fmla="*/ 0 h 4383634"/>
                      <a:gd name="connsiteX10" fmla="*/ 5755744 w 12087063"/>
                      <a:gd name="connsiteY10" fmla="*/ 0 h 4383634"/>
                      <a:gd name="connsiteX11" fmla="*/ 6573060 w 12087063"/>
                      <a:gd name="connsiteY11" fmla="*/ 0 h 4383634"/>
                      <a:gd name="connsiteX12" fmla="*/ 7027764 w 12087063"/>
                      <a:gd name="connsiteY12" fmla="*/ 0 h 4383634"/>
                      <a:gd name="connsiteX13" fmla="*/ 7482468 w 12087063"/>
                      <a:gd name="connsiteY13" fmla="*/ 0 h 4383634"/>
                      <a:gd name="connsiteX14" fmla="*/ 8178913 w 12087063"/>
                      <a:gd name="connsiteY14" fmla="*/ 0 h 4383634"/>
                      <a:gd name="connsiteX15" fmla="*/ 8633616 w 12087063"/>
                      <a:gd name="connsiteY15" fmla="*/ 0 h 4383634"/>
                      <a:gd name="connsiteX16" fmla="*/ 9450932 w 12087063"/>
                      <a:gd name="connsiteY16" fmla="*/ 0 h 4383634"/>
                      <a:gd name="connsiteX17" fmla="*/ 10268248 w 12087063"/>
                      <a:gd name="connsiteY17" fmla="*/ 0 h 4383634"/>
                      <a:gd name="connsiteX18" fmla="*/ 10843822 w 12087063"/>
                      <a:gd name="connsiteY18" fmla="*/ 0 h 4383634"/>
                      <a:gd name="connsiteX19" fmla="*/ 11298526 w 12087063"/>
                      <a:gd name="connsiteY19" fmla="*/ 0 h 4383634"/>
                      <a:gd name="connsiteX20" fmla="*/ 11511489 w 12087063"/>
                      <a:gd name="connsiteY20" fmla="*/ 0 h 4383634"/>
                      <a:gd name="connsiteX21" fmla="*/ 12087063 w 12087063"/>
                      <a:gd name="connsiteY21" fmla="*/ 0 h 4383634"/>
                      <a:gd name="connsiteX22" fmla="*/ 12087063 w 12087063"/>
                      <a:gd name="connsiteY22" fmla="*/ 460282 h 4383634"/>
                      <a:gd name="connsiteX23" fmla="*/ 12087063 w 12087063"/>
                      <a:gd name="connsiteY23" fmla="*/ 964399 h 4383634"/>
                      <a:gd name="connsiteX24" fmla="*/ 12087063 w 12087063"/>
                      <a:gd name="connsiteY24" fmla="*/ 1424681 h 4383634"/>
                      <a:gd name="connsiteX25" fmla="*/ 12087063 w 12087063"/>
                      <a:gd name="connsiteY25" fmla="*/ 2016472 h 4383634"/>
                      <a:gd name="connsiteX26" fmla="*/ 12087063 w 12087063"/>
                      <a:gd name="connsiteY26" fmla="*/ 2564426 h 4383634"/>
                      <a:gd name="connsiteX27" fmla="*/ 12087063 w 12087063"/>
                      <a:gd name="connsiteY27" fmla="*/ 3112380 h 4383634"/>
                      <a:gd name="connsiteX28" fmla="*/ 12087063 w 12087063"/>
                      <a:gd name="connsiteY28" fmla="*/ 3748007 h 4383634"/>
                      <a:gd name="connsiteX29" fmla="*/ 12087063 w 12087063"/>
                      <a:gd name="connsiteY29" fmla="*/ 4383634 h 4383634"/>
                      <a:gd name="connsiteX30" fmla="*/ 11874100 w 12087063"/>
                      <a:gd name="connsiteY30" fmla="*/ 4383634 h 4383634"/>
                      <a:gd name="connsiteX31" fmla="*/ 11177655 w 12087063"/>
                      <a:gd name="connsiteY31" fmla="*/ 4383634 h 4383634"/>
                      <a:gd name="connsiteX32" fmla="*/ 10964693 w 12087063"/>
                      <a:gd name="connsiteY32" fmla="*/ 4383634 h 4383634"/>
                      <a:gd name="connsiteX33" fmla="*/ 10268248 w 12087063"/>
                      <a:gd name="connsiteY33" fmla="*/ 4383634 h 4383634"/>
                      <a:gd name="connsiteX34" fmla="*/ 9934415 w 12087063"/>
                      <a:gd name="connsiteY34" fmla="*/ 4383634 h 4383634"/>
                      <a:gd name="connsiteX35" fmla="*/ 9721452 w 12087063"/>
                      <a:gd name="connsiteY35" fmla="*/ 4383634 h 4383634"/>
                      <a:gd name="connsiteX36" fmla="*/ 9387619 w 12087063"/>
                      <a:gd name="connsiteY36" fmla="*/ 4383634 h 4383634"/>
                      <a:gd name="connsiteX37" fmla="*/ 8691174 w 12087063"/>
                      <a:gd name="connsiteY37" fmla="*/ 4383634 h 4383634"/>
                      <a:gd name="connsiteX38" fmla="*/ 8357341 w 12087063"/>
                      <a:gd name="connsiteY38" fmla="*/ 4383634 h 4383634"/>
                      <a:gd name="connsiteX39" fmla="*/ 8144378 w 12087063"/>
                      <a:gd name="connsiteY39" fmla="*/ 4383634 h 4383634"/>
                      <a:gd name="connsiteX40" fmla="*/ 7810545 w 12087063"/>
                      <a:gd name="connsiteY40" fmla="*/ 4383634 h 4383634"/>
                      <a:gd name="connsiteX41" fmla="*/ 7355841 w 12087063"/>
                      <a:gd name="connsiteY41" fmla="*/ 4383634 h 4383634"/>
                      <a:gd name="connsiteX42" fmla="*/ 6780267 w 12087063"/>
                      <a:gd name="connsiteY42" fmla="*/ 4383634 h 4383634"/>
                      <a:gd name="connsiteX43" fmla="*/ 6446434 w 12087063"/>
                      <a:gd name="connsiteY43" fmla="*/ 4383634 h 4383634"/>
                      <a:gd name="connsiteX44" fmla="*/ 5629118 w 12087063"/>
                      <a:gd name="connsiteY44" fmla="*/ 4383634 h 4383634"/>
                      <a:gd name="connsiteX45" fmla="*/ 5053543 w 12087063"/>
                      <a:gd name="connsiteY45" fmla="*/ 4383634 h 4383634"/>
                      <a:gd name="connsiteX46" fmla="*/ 4236228 w 12087063"/>
                      <a:gd name="connsiteY46" fmla="*/ 4383634 h 4383634"/>
                      <a:gd name="connsiteX47" fmla="*/ 3539783 w 12087063"/>
                      <a:gd name="connsiteY47" fmla="*/ 4383634 h 4383634"/>
                      <a:gd name="connsiteX48" fmla="*/ 3085079 w 12087063"/>
                      <a:gd name="connsiteY48" fmla="*/ 4383634 h 4383634"/>
                      <a:gd name="connsiteX49" fmla="*/ 2388634 w 12087063"/>
                      <a:gd name="connsiteY49" fmla="*/ 4383634 h 4383634"/>
                      <a:gd name="connsiteX50" fmla="*/ 2054801 w 12087063"/>
                      <a:gd name="connsiteY50" fmla="*/ 4383634 h 4383634"/>
                      <a:gd name="connsiteX51" fmla="*/ 1479226 w 12087063"/>
                      <a:gd name="connsiteY51" fmla="*/ 4383634 h 4383634"/>
                      <a:gd name="connsiteX52" fmla="*/ 1266264 w 12087063"/>
                      <a:gd name="connsiteY52" fmla="*/ 4383634 h 4383634"/>
                      <a:gd name="connsiteX53" fmla="*/ 0 w 12087063"/>
                      <a:gd name="connsiteY53" fmla="*/ 4383634 h 4383634"/>
                      <a:gd name="connsiteX54" fmla="*/ 0 w 12087063"/>
                      <a:gd name="connsiteY54" fmla="*/ 3835680 h 4383634"/>
                      <a:gd name="connsiteX55" fmla="*/ 0 w 12087063"/>
                      <a:gd name="connsiteY55" fmla="*/ 3243889 h 4383634"/>
                      <a:gd name="connsiteX56" fmla="*/ 0 w 12087063"/>
                      <a:gd name="connsiteY56" fmla="*/ 2652099 h 4383634"/>
                      <a:gd name="connsiteX57" fmla="*/ 0 w 12087063"/>
                      <a:gd name="connsiteY57" fmla="*/ 2191817 h 4383634"/>
                      <a:gd name="connsiteX58" fmla="*/ 0 w 12087063"/>
                      <a:gd name="connsiteY58" fmla="*/ 1556190 h 4383634"/>
                      <a:gd name="connsiteX59" fmla="*/ 0 w 12087063"/>
                      <a:gd name="connsiteY59" fmla="*/ 1008236 h 4383634"/>
                      <a:gd name="connsiteX60" fmla="*/ 0 w 12087063"/>
                      <a:gd name="connsiteY60" fmla="*/ 591791 h 4383634"/>
                      <a:gd name="connsiteX61" fmla="*/ 0 w 12087063"/>
                      <a:gd name="connsiteY61" fmla="*/ 0 h 43836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</a:cxnLst>
                    <a:rect l="l" t="t" r="r" b="b"/>
                    <a:pathLst>
                      <a:path w="12087063" h="4383634" extrusionOk="0">
                        <a:moveTo>
                          <a:pt x="0" y="0"/>
                        </a:moveTo>
                        <a:cubicBezTo>
                          <a:pt x="213605" y="-46479"/>
                          <a:pt x="315435" y="34547"/>
                          <a:pt x="454704" y="0"/>
                        </a:cubicBezTo>
                        <a:cubicBezTo>
                          <a:pt x="593973" y="-34547"/>
                          <a:pt x="619658" y="2634"/>
                          <a:pt x="667666" y="0"/>
                        </a:cubicBezTo>
                        <a:cubicBezTo>
                          <a:pt x="715674" y="-2634"/>
                          <a:pt x="1279540" y="91298"/>
                          <a:pt x="1484982" y="0"/>
                        </a:cubicBezTo>
                        <a:cubicBezTo>
                          <a:pt x="1690424" y="-91298"/>
                          <a:pt x="1793342" y="49739"/>
                          <a:pt x="1939686" y="0"/>
                        </a:cubicBezTo>
                        <a:cubicBezTo>
                          <a:pt x="2086030" y="-49739"/>
                          <a:pt x="2226417" y="20199"/>
                          <a:pt x="2394390" y="0"/>
                        </a:cubicBezTo>
                        <a:cubicBezTo>
                          <a:pt x="2562363" y="-20199"/>
                          <a:pt x="3013495" y="30939"/>
                          <a:pt x="3211705" y="0"/>
                        </a:cubicBezTo>
                        <a:cubicBezTo>
                          <a:pt x="3409916" y="-30939"/>
                          <a:pt x="3426501" y="22435"/>
                          <a:pt x="3545538" y="0"/>
                        </a:cubicBezTo>
                        <a:cubicBezTo>
                          <a:pt x="3664575" y="-22435"/>
                          <a:pt x="4111513" y="8621"/>
                          <a:pt x="4362854" y="0"/>
                        </a:cubicBezTo>
                        <a:cubicBezTo>
                          <a:pt x="4614195" y="-8621"/>
                          <a:pt x="4841590" y="52153"/>
                          <a:pt x="5180170" y="0"/>
                        </a:cubicBezTo>
                        <a:cubicBezTo>
                          <a:pt x="5518750" y="-52153"/>
                          <a:pt x="5612086" y="41856"/>
                          <a:pt x="5755744" y="0"/>
                        </a:cubicBezTo>
                        <a:cubicBezTo>
                          <a:pt x="5899402" y="-41856"/>
                          <a:pt x="6351396" y="25466"/>
                          <a:pt x="6573060" y="0"/>
                        </a:cubicBezTo>
                        <a:cubicBezTo>
                          <a:pt x="6794724" y="-25466"/>
                          <a:pt x="6875143" y="29876"/>
                          <a:pt x="7027764" y="0"/>
                        </a:cubicBezTo>
                        <a:cubicBezTo>
                          <a:pt x="7180385" y="-29876"/>
                          <a:pt x="7275197" y="20112"/>
                          <a:pt x="7482468" y="0"/>
                        </a:cubicBezTo>
                        <a:cubicBezTo>
                          <a:pt x="7689739" y="-20112"/>
                          <a:pt x="7860349" y="76967"/>
                          <a:pt x="8178913" y="0"/>
                        </a:cubicBezTo>
                        <a:cubicBezTo>
                          <a:pt x="8497477" y="-76967"/>
                          <a:pt x="8506535" y="17072"/>
                          <a:pt x="8633616" y="0"/>
                        </a:cubicBezTo>
                        <a:cubicBezTo>
                          <a:pt x="8760697" y="-17072"/>
                          <a:pt x="9112787" y="34937"/>
                          <a:pt x="9450932" y="0"/>
                        </a:cubicBezTo>
                        <a:cubicBezTo>
                          <a:pt x="9789077" y="-34937"/>
                          <a:pt x="9981154" y="8654"/>
                          <a:pt x="10268248" y="0"/>
                        </a:cubicBezTo>
                        <a:cubicBezTo>
                          <a:pt x="10555342" y="-8654"/>
                          <a:pt x="10640365" y="4438"/>
                          <a:pt x="10843822" y="0"/>
                        </a:cubicBezTo>
                        <a:cubicBezTo>
                          <a:pt x="11047279" y="-4438"/>
                          <a:pt x="11146171" y="5765"/>
                          <a:pt x="11298526" y="0"/>
                        </a:cubicBezTo>
                        <a:cubicBezTo>
                          <a:pt x="11450881" y="-5765"/>
                          <a:pt x="11422041" y="2235"/>
                          <a:pt x="11511489" y="0"/>
                        </a:cubicBezTo>
                        <a:cubicBezTo>
                          <a:pt x="11600937" y="-2235"/>
                          <a:pt x="11863447" y="61228"/>
                          <a:pt x="12087063" y="0"/>
                        </a:cubicBezTo>
                        <a:cubicBezTo>
                          <a:pt x="12091134" y="130436"/>
                          <a:pt x="12070993" y="329818"/>
                          <a:pt x="12087063" y="460282"/>
                        </a:cubicBezTo>
                        <a:cubicBezTo>
                          <a:pt x="12103133" y="590746"/>
                          <a:pt x="12078471" y="752457"/>
                          <a:pt x="12087063" y="964399"/>
                        </a:cubicBezTo>
                        <a:cubicBezTo>
                          <a:pt x="12095655" y="1176341"/>
                          <a:pt x="12053688" y="1307244"/>
                          <a:pt x="12087063" y="1424681"/>
                        </a:cubicBezTo>
                        <a:cubicBezTo>
                          <a:pt x="12120438" y="1542118"/>
                          <a:pt x="12028396" y="1762599"/>
                          <a:pt x="12087063" y="2016472"/>
                        </a:cubicBezTo>
                        <a:cubicBezTo>
                          <a:pt x="12145730" y="2270345"/>
                          <a:pt x="12086110" y="2397708"/>
                          <a:pt x="12087063" y="2564426"/>
                        </a:cubicBezTo>
                        <a:cubicBezTo>
                          <a:pt x="12088016" y="2731144"/>
                          <a:pt x="12028402" y="2853459"/>
                          <a:pt x="12087063" y="3112380"/>
                        </a:cubicBezTo>
                        <a:cubicBezTo>
                          <a:pt x="12145724" y="3371301"/>
                          <a:pt x="12072735" y="3564426"/>
                          <a:pt x="12087063" y="3748007"/>
                        </a:cubicBezTo>
                        <a:cubicBezTo>
                          <a:pt x="12101391" y="3931588"/>
                          <a:pt x="12012035" y="4163429"/>
                          <a:pt x="12087063" y="4383634"/>
                        </a:cubicBezTo>
                        <a:cubicBezTo>
                          <a:pt x="11984718" y="4389576"/>
                          <a:pt x="11919515" y="4363620"/>
                          <a:pt x="11874100" y="4383634"/>
                        </a:cubicBezTo>
                        <a:cubicBezTo>
                          <a:pt x="11828685" y="4403648"/>
                          <a:pt x="11323291" y="4372871"/>
                          <a:pt x="11177655" y="4383634"/>
                        </a:cubicBezTo>
                        <a:cubicBezTo>
                          <a:pt x="11032019" y="4394397"/>
                          <a:pt x="11039569" y="4372505"/>
                          <a:pt x="10964693" y="4383634"/>
                        </a:cubicBezTo>
                        <a:cubicBezTo>
                          <a:pt x="10889817" y="4394763"/>
                          <a:pt x="10526703" y="4340138"/>
                          <a:pt x="10268248" y="4383634"/>
                        </a:cubicBezTo>
                        <a:cubicBezTo>
                          <a:pt x="10009793" y="4427130"/>
                          <a:pt x="10086522" y="4355034"/>
                          <a:pt x="9934415" y="4383634"/>
                        </a:cubicBezTo>
                        <a:cubicBezTo>
                          <a:pt x="9782308" y="4412234"/>
                          <a:pt x="9827883" y="4377219"/>
                          <a:pt x="9721452" y="4383634"/>
                        </a:cubicBezTo>
                        <a:cubicBezTo>
                          <a:pt x="9615021" y="4390049"/>
                          <a:pt x="9490708" y="4368182"/>
                          <a:pt x="9387619" y="4383634"/>
                        </a:cubicBezTo>
                        <a:cubicBezTo>
                          <a:pt x="9284530" y="4399086"/>
                          <a:pt x="9010311" y="4362615"/>
                          <a:pt x="8691174" y="4383634"/>
                        </a:cubicBezTo>
                        <a:cubicBezTo>
                          <a:pt x="8372037" y="4404653"/>
                          <a:pt x="8471544" y="4381493"/>
                          <a:pt x="8357341" y="4383634"/>
                        </a:cubicBezTo>
                        <a:cubicBezTo>
                          <a:pt x="8243138" y="4385775"/>
                          <a:pt x="8234451" y="4364495"/>
                          <a:pt x="8144378" y="4383634"/>
                        </a:cubicBezTo>
                        <a:cubicBezTo>
                          <a:pt x="8054305" y="4402773"/>
                          <a:pt x="7957573" y="4369930"/>
                          <a:pt x="7810545" y="4383634"/>
                        </a:cubicBezTo>
                        <a:cubicBezTo>
                          <a:pt x="7663517" y="4397338"/>
                          <a:pt x="7579465" y="4368727"/>
                          <a:pt x="7355841" y="4383634"/>
                        </a:cubicBezTo>
                        <a:cubicBezTo>
                          <a:pt x="7132217" y="4398541"/>
                          <a:pt x="7024513" y="4341201"/>
                          <a:pt x="6780267" y="4383634"/>
                        </a:cubicBezTo>
                        <a:cubicBezTo>
                          <a:pt x="6536021" y="4426067"/>
                          <a:pt x="6519114" y="4361483"/>
                          <a:pt x="6446434" y="4383634"/>
                        </a:cubicBezTo>
                        <a:cubicBezTo>
                          <a:pt x="6373754" y="4405785"/>
                          <a:pt x="5902185" y="4365035"/>
                          <a:pt x="5629118" y="4383634"/>
                        </a:cubicBezTo>
                        <a:cubicBezTo>
                          <a:pt x="5356051" y="4402233"/>
                          <a:pt x="5281558" y="4368226"/>
                          <a:pt x="5053543" y="4383634"/>
                        </a:cubicBezTo>
                        <a:cubicBezTo>
                          <a:pt x="4825529" y="4399042"/>
                          <a:pt x="4497060" y="4345485"/>
                          <a:pt x="4236228" y="4383634"/>
                        </a:cubicBezTo>
                        <a:cubicBezTo>
                          <a:pt x="3975397" y="4421783"/>
                          <a:pt x="3729662" y="4315083"/>
                          <a:pt x="3539783" y="4383634"/>
                        </a:cubicBezTo>
                        <a:cubicBezTo>
                          <a:pt x="3349905" y="4452185"/>
                          <a:pt x="3295517" y="4363604"/>
                          <a:pt x="3085079" y="4383634"/>
                        </a:cubicBezTo>
                        <a:cubicBezTo>
                          <a:pt x="2874641" y="4403664"/>
                          <a:pt x="2610747" y="4351654"/>
                          <a:pt x="2388634" y="4383634"/>
                        </a:cubicBezTo>
                        <a:cubicBezTo>
                          <a:pt x="2166521" y="4415614"/>
                          <a:pt x="2164880" y="4378977"/>
                          <a:pt x="2054801" y="4383634"/>
                        </a:cubicBezTo>
                        <a:cubicBezTo>
                          <a:pt x="1944722" y="4388291"/>
                          <a:pt x="1757394" y="4342480"/>
                          <a:pt x="1479226" y="4383634"/>
                        </a:cubicBezTo>
                        <a:cubicBezTo>
                          <a:pt x="1201058" y="4424788"/>
                          <a:pt x="1365093" y="4360446"/>
                          <a:pt x="1266264" y="4383634"/>
                        </a:cubicBezTo>
                        <a:cubicBezTo>
                          <a:pt x="1167435" y="4406822"/>
                          <a:pt x="566432" y="4359661"/>
                          <a:pt x="0" y="4383634"/>
                        </a:cubicBezTo>
                        <a:cubicBezTo>
                          <a:pt x="-44013" y="4255123"/>
                          <a:pt x="33575" y="3949423"/>
                          <a:pt x="0" y="3835680"/>
                        </a:cubicBezTo>
                        <a:cubicBezTo>
                          <a:pt x="-33575" y="3721937"/>
                          <a:pt x="58092" y="3371155"/>
                          <a:pt x="0" y="3243889"/>
                        </a:cubicBezTo>
                        <a:cubicBezTo>
                          <a:pt x="-58092" y="3116623"/>
                          <a:pt x="35673" y="2840011"/>
                          <a:pt x="0" y="2652099"/>
                        </a:cubicBezTo>
                        <a:cubicBezTo>
                          <a:pt x="-35673" y="2464187"/>
                          <a:pt x="11788" y="2327245"/>
                          <a:pt x="0" y="2191817"/>
                        </a:cubicBezTo>
                        <a:cubicBezTo>
                          <a:pt x="-11788" y="2056389"/>
                          <a:pt x="47526" y="1858290"/>
                          <a:pt x="0" y="1556190"/>
                        </a:cubicBezTo>
                        <a:cubicBezTo>
                          <a:pt x="-47526" y="1254090"/>
                          <a:pt x="22633" y="1121607"/>
                          <a:pt x="0" y="1008236"/>
                        </a:cubicBezTo>
                        <a:cubicBezTo>
                          <a:pt x="-22633" y="894865"/>
                          <a:pt x="31518" y="797496"/>
                          <a:pt x="0" y="591791"/>
                        </a:cubicBezTo>
                        <a:cubicBezTo>
                          <a:pt x="-31518" y="386087"/>
                          <a:pt x="60020" y="250422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603181" cy="338554"/>
          </a:xfrm>
        </p:spPr>
        <p:txBody>
          <a:bodyPr/>
          <a:lstStyle/>
          <a:p>
            <a:r>
              <a:rPr lang="en-NO" sz="2200" dirty="0"/>
              <a:t>NorCPM repository with revised structure </a:t>
            </a:r>
            <a:r>
              <a:rPr lang="en-GB" sz="2200" dirty="0">
                <a:hlinkClick r:id="rId3"/>
              </a:rPr>
              <a:t>https://github.com/NorESMhub/NorCPM</a:t>
            </a:r>
            <a:r>
              <a:rPr lang="en-GB" sz="2200" dirty="0"/>
              <a:t> </a:t>
            </a:r>
            <a:r>
              <a:rPr lang="en-NO" sz="2200" dirty="0"/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AB605F-30D7-8F11-5CE9-0FA147E897E2}"/>
              </a:ext>
            </a:extLst>
          </p:cNvPr>
          <p:cNvSpPr txBox="1"/>
          <p:nvPr/>
        </p:nvSpPr>
        <p:spPr>
          <a:xfrm>
            <a:off x="2276013" y="3494656"/>
            <a:ext cx="761747" cy="19851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00" b="1" i="1" dirty="0" err="1">
                <a:solidFill>
                  <a:srgbClr val="00B050"/>
                </a:solidFill>
                <a:latin typeface="Menlo" panose="020B0609030804020204" pitchFamily="49" charset="0"/>
              </a:rPr>
              <a:t>a</a:t>
            </a:r>
            <a:r>
              <a:rPr lang="en-GB" sz="1500" b="1" i="1" dirty="0" err="1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ssim</a:t>
            </a:r>
            <a:endParaRPr lang="en-GB" sz="1500" b="1" i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</a:rPr>
              <a:t>cases</a:t>
            </a:r>
            <a:endParaRPr lang="en-GB" sz="1500" i="1" dirty="0">
              <a:solidFill>
                <a:schemeClr val="bg1">
                  <a:lumMod val="50000"/>
                </a:schemeClr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docs</a:t>
            </a:r>
          </a:p>
          <a:p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</a:rPr>
              <a:t>l</a:t>
            </a:r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effectLst/>
                <a:latin typeface="Menlo" panose="020B0609030804020204" pitchFamily="49" charset="0"/>
              </a:rPr>
              <a:t>ogs</a:t>
            </a:r>
          </a:p>
          <a:p>
            <a:r>
              <a:rPr lang="en-GB" sz="1500" b="1" dirty="0">
                <a:solidFill>
                  <a:srgbClr val="00B050"/>
                </a:solidFill>
                <a:latin typeface="Menlo" panose="020B0609030804020204" pitchFamily="49" charset="0"/>
              </a:rPr>
              <a:t>model</a:t>
            </a:r>
            <a:endParaRPr lang="en-GB" sz="1500" b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b="1" i="1" dirty="0">
                <a:solidFill>
                  <a:srgbClr val="00B050"/>
                </a:solidFill>
                <a:latin typeface="Menlo" panose="020B0609030804020204" pitchFamily="49" charset="0"/>
              </a:rPr>
              <a:t>setup</a:t>
            </a:r>
            <a:endParaRPr lang="en-GB" sz="1500" b="1" i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tools</a:t>
            </a:r>
          </a:p>
          <a:p>
            <a:endParaRPr lang="en-NO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0B94E2-EBD0-0AA2-4C1D-239D560937DD}"/>
              </a:ext>
            </a:extLst>
          </p:cNvPr>
          <p:cNvSpPr txBox="1"/>
          <p:nvPr/>
        </p:nvSpPr>
        <p:spPr>
          <a:xfrm>
            <a:off x="3383610" y="2697634"/>
            <a:ext cx="110799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heme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heme2</a:t>
            </a:r>
          </a:p>
          <a:p>
            <a:r>
              <a:rPr lang="en-NO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scheme</a:t>
            </a:r>
          </a:p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ED1E24-56B4-26BA-2754-C5BAC7B1F5D9}"/>
              </a:ext>
            </a:extLst>
          </p:cNvPr>
          <p:cNvSpPr txBox="1"/>
          <p:nvPr/>
        </p:nvSpPr>
        <p:spPr>
          <a:xfrm flipH="1">
            <a:off x="4722036" y="2291241"/>
            <a:ext cx="5019322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1 (e.g. EnKF)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2 (e.g. prep_obs)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3 (e.g. micom_init)</a:t>
            </a:r>
          </a:p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ttings1.in (e.g. </a:t>
            </a:r>
            <a:r>
              <a:rPr lang="en-GB" sz="1500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analysisfields_1.in)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ttings2.in (e.g. </a:t>
            </a:r>
            <a:r>
              <a:rPr lang="en-GB" sz="1500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enkf.prm_1)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sim_build.sh</a:t>
            </a:r>
          </a:p>
          <a:p>
            <a:r>
              <a:rPr lang="en-GB" sz="1500" dirty="0" err="1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ssim_step.sh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4E7E33-969D-4A05-7230-70767CC8EFE1}"/>
              </a:ext>
            </a:extLst>
          </p:cNvPr>
          <p:cNvSpPr txBox="1"/>
          <p:nvPr/>
        </p:nvSpPr>
        <p:spPr>
          <a:xfrm>
            <a:off x="3383610" y="5434231"/>
            <a:ext cx="992579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2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3</a:t>
            </a:r>
          </a:p>
          <a:p>
            <a:r>
              <a:rPr lang="en-GB" sz="1500" i="1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setup</a:t>
            </a:r>
            <a:endParaRPr lang="en-GB" sz="1500" i="1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  <a:endParaRPr lang="en-NO" sz="1500" i="1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3B9ED5-A80A-F2AE-26EA-A3F8E52D0643}"/>
              </a:ext>
            </a:extLst>
          </p:cNvPr>
          <p:cNvSpPr txBox="1"/>
          <p:nvPr/>
        </p:nvSpPr>
        <p:spPr>
          <a:xfrm>
            <a:off x="4722039" y="5420836"/>
            <a:ext cx="32766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b="1" i="1" dirty="0">
                <a:solidFill>
                  <a:srgbClr val="2FBD1D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tings</a:t>
            </a:r>
            <a:endParaRPr lang="en-GB" sz="1500" b="1" i="1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endParaRPr lang="en-GB" sz="1500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</a:t>
            </a:r>
            <a:r>
              <a:rPr lang="en-GB" sz="1500" dirty="0" err="1">
                <a:solidFill>
                  <a:srgbClr val="2FBD1D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semble</a:t>
            </a:r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sh</a:t>
            </a:r>
            <a:endParaRPr lang="en-GB" sz="1500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3685D1-2B89-2E09-18F1-F9197830DB98}"/>
              </a:ext>
            </a:extLst>
          </p:cNvPr>
          <p:cNvSpPr txBox="1"/>
          <p:nvPr/>
        </p:nvSpPr>
        <p:spPr>
          <a:xfrm>
            <a:off x="741954" y="4265976"/>
            <a:ext cx="877163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en-GB" sz="1500" b="1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endParaRPr lang="en-GB" sz="1500" b="1" i="1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6E2F610-D5CD-0150-EE39-D19B17D21A8D}"/>
              </a:ext>
            </a:extLst>
          </p:cNvPr>
          <p:cNvCxnSpPr>
            <a:cxnSpLocks/>
          </p:cNvCxnSpPr>
          <p:nvPr/>
        </p:nvCxnSpPr>
        <p:spPr>
          <a:xfrm flipV="1">
            <a:off x="1809600" y="4393332"/>
            <a:ext cx="423844" cy="1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0DA06C7-0BD0-E78B-30D2-F02A3107E528}"/>
              </a:ext>
            </a:extLst>
          </p:cNvPr>
          <p:cNvCxnSpPr>
            <a:cxnSpLocks/>
          </p:cNvCxnSpPr>
          <p:nvPr/>
        </p:nvCxnSpPr>
        <p:spPr>
          <a:xfrm flipV="1">
            <a:off x="2998816" y="3053473"/>
            <a:ext cx="316011" cy="526469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E1EF149-7094-FDD2-7259-BF454E4422AD}"/>
              </a:ext>
            </a:extLst>
          </p:cNvPr>
          <p:cNvCxnSpPr>
            <a:cxnSpLocks/>
          </p:cNvCxnSpPr>
          <p:nvPr/>
        </p:nvCxnSpPr>
        <p:spPr>
          <a:xfrm>
            <a:off x="3014005" y="4886766"/>
            <a:ext cx="318460" cy="771407"/>
          </a:xfrm>
          <a:prstGeom prst="straightConnector1">
            <a:avLst/>
          </a:prstGeom>
          <a:ln cap="sq"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09DE571A-91FE-F460-16FF-01A70E79071D}"/>
              </a:ext>
            </a:extLst>
          </p:cNvPr>
          <p:cNvCxnSpPr>
            <a:cxnSpLocks/>
          </p:cNvCxnSpPr>
          <p:nvPr/>
        </p:nvCxnSpPr>
        <p:spPr>
          <a:xfrm>
            <a:off x="4468715" y="2860676"/>
            <a:ext cx="253321" cy="0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8D55E2F-1A72-1855-7E9C-AE310E27BB02}"/>
              </a:ext>
            </a:extLst>
          </p:cNvPr>
          <p:cNvCxnSpPr>
            <a:cxnSpLocks/>
          </p:cNvCxnSpPr>
          <p:nvPr/>
        </p:nvCxnSpPr>
        <p:spPr>
          <a:xfrm>
            <a:off x="4501892" y="5583706"/>
            <a:ext cx="220144" cy="0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171571FA-7CF9-92EF-73DD-8EE30916C04A}"/>
              </a:ext>
            </a:extLst>
          </p:cNvPr>
          <p:cNvCxnSpPr>
            <a:cxnSpLocks/>
          </p:cNvCxnSpPr>
          <p:nvPr/>
        </p:nvCxnSpPr>
        <p:spPr>
          <a:xfrm>
            <a:off x="5785654" y="5569505"/>
            <a:ext cx="1429793" cy="0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91DB77E7-79D5-0778-72B5-26EB07D98552}"/>
              </a:ext>
            </a:extLst>
          </p:cNvPr>
          <p:cNvSpPr txBox="1"/>
          <p:nvPr/>
        </p:nvSpPr>
        <p:spPr>
          <a:xfrm>
            <a:off x="9971768" y="2314324"/>
            <a:ext cx="2164813" cy="7848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-controlled</a:t>
            </a:r>
          </a:p>
          <a:p>
            <a:r>
              <a:rPr lang="en-GB" sz="1500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-controlled?</a:t>
            </a:r>
          </a:p>
          <a:p>
            <a:pPr algn="r"/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2A907B0-15AB-6807-6D2E-49C7F0F344DD}"/>
              </a:ext>
            </a:extLst>
          </p:cNvPr>
          <p:cNvCxnSpPr>
            <a:cxnSpLocks/>
          </p:cNvCxnSpPr>
          <p:nvPr/>
        </p:nvCxnSpPr>
        <p:spPr>
          <a:xfrm>
            <a:off x="3065126" y="4589141"/>
            <a:ext cx="318460" cy="0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4EFB7EA-4E09-C7F8-A790-9D06FB8C355C}"/>
              </a:ext>
            </a:extLst>
          </p:cNvPr>
          <p:cNvSpPr txBox="1"/>
          <p:nvPr/>
        </p:nvSpPr>
        <p:spPr>
          <a:xfrm>
            <a:off x="3418726" y="3942802"/>
            <a:ext cx="992579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2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3</a:t>
            </a:r>
          </a:p>
          <a:p>
            <a:r>
              <a:rPr lang="en-GB" sz="1500" i="1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model</a:t>
            </a:r>
            <a:endParaRPr lang="en-GB" sz="1500" i="1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  <a:endParaRPr lang="en-NO" sz="1500" i="1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D310DE19-F63E-EB53-38A1-8B2ED6211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087654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01E7156-5D76-D08F-1E7B-C5BE269A4CD4}"/>
              </a:ext>
            </a:extLst>
          </p:cNvPr>
          <p:cNvSpPr txBox="1"/>
          <p:nvPr/>
        </p:nvSpPr>
        <p:spPr>
          <a:xfrm>
            <a:off x="490889" y="1491870"/>
            <a:ext cx="11167711" cy="50918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2000" b="0" i="0" u="none" strike="noStrike" dirty="0">
                <a:solidFill>
                  <a:srgbClr val="1F2328"/>
                </a:solidFill>
                <a:effectLst/>
              </a:rPr>
              <a:t>Install </a:t>
            </a:r>
            <a:r>
              <a:rPr lang="en-GB" sz="2000" b="0" i="0" u="none" strike="noStrike" dirty="0" err="1">
                <a:solidFill>
                  <a:srgbClr val="1F2328"/>
                </a:solidFill>
                <a:effectLst/>
              </a:rPr>
              <a:t>NorCPM</a:t>
            </a:r>
            <a:r>
              <a:rPr lang="en-GB" sz="2000" b="0" i="0" u="none" strike="noStrike" dirty="0">
                <a:solidFill>
                  <a:srgbClr val="1F2328"/>
                </a:solidFill>
                <a:effectLst/>
              </a:rPr>
              <a:t> in the nn9039k project space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6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https://</a:t>
            </a:r>
            <a:r>
              <a:rPr lang="en-GB" sz="16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hub.com</a:t>
            </a: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6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hub</a:t>
            </a: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6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.git</a:t>
            </a: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6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endParaRPr lang="en-GB" sz="16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20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Install NorESM2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/</a:t>
            </a:r>
            <a:r>
              <a:rPr lang="en-GB" sz="16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setup/noresm2</a:t>
            </a:r>
          </a:p>
          <a:p>
            <a:pPr marL="174625" lvl="1" indent="0">
              <a:buNone/>
            </a:pP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install_noresm2.sh</a:t>
            </a:r>
            <a:endParaRPr lang="en-GB" sz="16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800" dirty="0">
              <a:solidFill>
                <a:schemeClr val="tx1"/>
              </a:solidFill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20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et up a NorESM2-LM assimilation test experiment with 10 members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6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6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esm2-lm_odaday_19960101.sh</a:t>
            </a:r>
            <a:endParaRPr lang="en-GB" sz="16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20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ubmit experiment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6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ensemble.sh</a:t>
            </a:r>
            <a:r>
              <a:rPr lang="en-GB" sz="16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6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esm2-lm_odaday_19960101.sh</a:t>
            </a:r>
            <a:endParaRPr lang="en-GB" sz="16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Mini-tutorial for performing a daily assimilation experiment using NorESM2-LM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72099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0561C1F1-E48F-CF1A-5815-263414B75DD4}"/>
              </a:ext>
            </a:extLst>
          </p:cNvPr>
          <p:cNvSpPr txBox="1"/>
          <p:nvPr/>
        </p:nvSpPr>
        <p:spPr>
          <a:xfrm>
            <a:off x="626659" y="2521019"/>
            <a:ext cx="5181600" cy="386061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Workflow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14</a:t>
            </a:fld>
            <a:endParaRPr lang="nb-N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F048D0-418F-672F-E9CE-E7D61E404982}"/>
              </a:ext>
            </a:extLst>
          </p:cNvPr>
          <p:cNvSpPr txBox="1"/>
          <p:nvPr/>
        </p:nvSpPr>
        <p:spPr>
          <a:xfrm>
            <a:off x="2257616" y="3176834"/>
            <a:ext cx="19543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/>
              <a:t>run_ensemble.s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73DE0D2-D946-4830-84AB-EB779A32D608}"/>
              </a:ext>
            </a:extLst>
          </p:cNvPr>
          <p:cNvSpPr txBox="1"/>
          <p:nvPr/>
        </p:nvSpPr>
        <p:spPr>
          <a:xfrm>
            <a:off x="626659" y="1246228"/>
            <a:ext cx="5181600" cy="1107982"/>
          </a:xfrm>
          <a:prstGeom prst="rect">
            <a:avLst/>
          </a:prstGeom>
          <a:solidFill>
            <a:srgbClr val="FEFADE"/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35B963A-F567-B230-0FCE-01A54FCABC0A}"/>
              </a:ext>
            </a:extLst>
          </p:cNvPr>
          <p:cNvSpPr txBox="1"/>
          <p:nvPr/>
        </p:nvSpPr>
        <p:spPr>
          <a:xfrm>
            <a:off x="1320920" y="1433020"/>
            <a:ext cx="378821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reate</a:t>
            </a:r>
            <a:r>
              <a:rPr lang="en-NO" dirty="0"/>
              <a:t>_ensemble.sh &lt;settings file&gt;</a:t>
            </a:r>
            <a:endParaRPr lang="en-GB" dirty="0"/>
          </a:p>
          <a:p>
            <a:r>
              <a:rPr lang="en-GB" dirty="0"/>
              <a:t>s</a:t>
            </a:r>
            <a:r>
              <a:rPr lang="en-NO" dirty="0"/>
              <a:t>ubmit_ensemble.sh &lt;settings file&gt;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59D2482-3D3B-B927-2BB2-C870C1F8FE6D}"/>
              </a:ext>
            </a:extLst>
          </p:cNvPr>
          <p:cNvSpPr txBox="1"/>
          <p:nvPr/>
        </p:nvSpPr>
        <p:spPr>
          <a:xfrm>
            <a:off x="1113713" y="4279387"/>
            <a:ext cx="19415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/>
              <a:t>NorESM</a:t>
            </a:r>
          </a:p>
          <a:p>
            <a:r>
              <a:rPr lang="en-NO" dirty="0"/>
              <a:t>- pause&amp;resume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81BB90-D83D-5146-D0D7-81942D35211D}"/>
              </a:ext>
            </a:extLst>
          </p:cNvPr>
          <p:cNvSpPr txBox="1"/>
          <p:nvPr/>
        </p:nvSpPr>
        <p:spPr>
          <a:xfrm>
            <a:off x="3555407" y="4251109"/>
            <a:ext cx="1659429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a</a:t>
            </a:r>
            <a:r>
              <a:rPr lang="en-NO" dirty="0"/>
              <a:t>ssim_step.sh</a:t>
            </a:r>
          </a:p>
          <a:p>
            <a:pPr marL="285750" indent="-285750">
              <a:buFontTx/>
              <a:buChar char="-"/>
            </a:pPr>
            <a:r>
              <a:rPr lang="en-GB" dirty="0" err="1"/>
              <a:t>prep_obs</a:t>
            </a:r>
            <a:endParaRPr lang="en-GB" dirty="0"/>
          </a:p>
          <a:p>
            <a:pPr marL="285750" indent="-285750">
              <a:buFontTx/>
              <a:buChar char="-"/>
            </a:pPr>
            <a:r>
              <a:rPr lang="en-GB" dirty="0" err="1"/>
              <a:t>EnKF</a:t>
            </a:r>
            <a:endParaRPr lang="en-GB" dirty="0"/>
          </a:p>
          <a:p>
            <a:pPr marL="285750" indent="-285750">
              <a:buFontTx/>
              <a:buChar char="-"/>
            </a:pPr>
            <a:r>
              <a:rPr lang="en-GB" strike="sngStrike" dirty="0" err="1"/>
              <a:t>micom_init</a:t>
            </a:r>
            <a:endParaRPr lang="en-GB" strike="sngStrike" dirty="0"/>
          </a:p>
          <a:p>
            <a:pPr marL="285750" indent="-285750">
              <a:buFontTx/>
              <a:buChar char="-"/>
            </a:pPr>
            <a:r>
              <a:rPr lang="en-GB" strike="sngStrike" dirty="0" err="1"/>
              <a:t>fix_enkf</a:t>
            </a:r>
            <a:endParaRPr lang="en-NO" strike="sngStrike" dirty="0"/>
          </a:p>
          <a:p>
            <a:endParaRPr lang="en-NO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9AB625B-E874-69D6-4DA9-F3500D3D6AAE}"/>
              </a:ext>
            </a:extLst>
          </p:cNvPr>
          <p:cNvCxnSpPr>
            <a:cxnSpLocks/>
            <a:stCxn id="7" idx="2"/>
          </p:cNvCxnSpPr>
          <p:nvPr/>
        </p:nvCxnSpPr>
        <p:spPr>
          <a:xfrm>
            <a:off x="3215029" y="2079351"/>
            <a:ext cx="19777" cy="10974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7C9B004-2592-3051-6AC8-C352ED7AB1A8}"/>
              </a:ext>
            </a:extLst>
          </p:cNvPr>
          <p:cNvCxnSpPr>
            <a:cxnSpLocks/>
            <a:stCxn id="6" idx="2"/>
            <a:endCxn id="8" idx="0"/>
          </p:cNvCxnSpPr>
          <p:nvPr/>
        </p:nvCxnSpPr>
        <p:spPr>
          <a:xfrm flipH="1">
            <a:off x="2084492" y="3546166"/>
            <a:ext cx="1150315" cy="7332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15623E52-1550-86C6-0FCA-5C0F00EC2AA4}"/>
              </a:ext>
            </a:extLst>
          </p:cNvPr>
          <p:cNvCxnSpPr>
            <a:cxnSpLocks/>
            <a:stCxn id="6" idx="2"/>
            <a:endCxn id="9" idx="0"/>
          </p:cNvCxnSpPr>
          <p:nvPr/>
        </p:nvCxnSpPr>
        <p:spPr>
          <a:xfrm>
            <a:off x="3234807" y="3546166"/>
            <a:ext cx="1150315" cy="7049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98CB6615-147D-23FB-3CF6-75925214E9BE}"/>
              </a:ext>
            </a:extLst>
          </p:cNvPr>
          <p:cNvSpPr txBox="1"/>
          <p:nvPr/>
        </p:nvSpPr>
        <p:spPr>
          <a:xfrm>
            <a:off x="4102222" y="5816212"/>
            <a:ext cx="1729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B</a:t>
            </a:r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atch system (compute nodes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8CD26CE-29B8-2047-5A03-B74D2E47B488}"/>
              </a:ext>
            </a:extLst>
          </p:cNvPr>
          <p:cNvSpPr txBox="1"/>
          <p:nvPr/>
        </p:nvSpPr>
        <p:spPr>
          <a:xfrm>
            <a:off x="4560723" y="1972156"/>
            <a:ext cx="12822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Login nod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E259E4E-B1A1-9931-E180-0C4EEBC7CEB4}"/>
              </a:ext>
            </a:extLst>
          </p:cNvPr>
          <p:cNvSpPr txBox="1"/>
          <p:nvPr/>
        </p:nvSpPr>
        <p:spPr>
          <a:xfrm>
            <a:off x="6114628" y="2522591"/>
            <a:ext cx="5181593" cy="9139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03B0C1C-74AD-F8C7-A7DA-EFA183DFC1DD}"/>
              </a:ext>
            </a:extLst>
          </p:cNvPr>
          <p:cNvSpPr txBox="1"/>
          <p:nvPr/>
        </p:nvSpPr>
        <p:spPr>
          <a:xfrm>
            <a:off x="7722145" y="2794879"/>
            <a:ext cx="20954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</a:t>
            </a:r>
            <a:r>
              <a:rPr lang="en-NO" dirty="0"/>
              <a:t>ase.st_archive.sh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78FAC02-1C17-B10A-AC9C-07326E11BEE5}"/>
              </a:ext>
            </a:extLst>
          </p:cNvPr>
          <p:cNvSpPr txBox="1"/>
          <p:nvPr/>
        </p:nvSpPr>
        <p:spPr>
          <a:xfrm>
            <a:off x="6114628" y="1247799"/>
            <a:ext cx="5181600" cy="1107982"/>
          </a:xfrm>
          <a:prstGeom prst="rect">
            <a:avLst/>
          </a:prstGeom>
          <a:solidFill>
            <a:srgbClr val="FEFADE"/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6E6E29A-0CEA-3D50-27CE-EB5C998F9BF3}"/>
              </a:ext>
            </a:extLst>
          </p:cNvPr>
          <p:cNvSpPr txBox="1"/>
          <p:nvPr/>
        </p:nvSpPr>
        <p:spPr>
          <a:xfrm>
            <a:off x="6808889" y="1599481"/>
            <a:ext cx="3852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rchive</a:t>
            </a:r>
            <a:r>
              <a:rPr lang="en-NO" dirty="0"/>
              <a:t>_ensemble.sh &lt;settings file&gt;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A9066B25-3211-F5D7-514E-DB630F326FF3}"/>
              </a:ext>
            </a:extLst>
          </p:cNvPr>
          <p:cNvCxnSpPr>
            <a:cxnSpLocks/>
          </p:cNvCxnSpPr>
          <p:nvPr/>
        </p:nvCxnSpPr>
        <p:spPr>
          <a:xfrm>
            <a:off x="8722775" y="1968813"/>
            <a:ext cx="0" cy="7743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8C74BF2C-6945-6CFB-CC6A-44D3BBCB02C0}"/>
              </a:ext>
            </a:extLst>
          </p:cNvPr>
          <p:cNvSpPr txBox="1"/>
          <p:nvPr/>
        </p:nvSpPr>
        <p:spPr>
          <a:xfrm>
            <a:off x="9566260" y="2865706"/>
            <a:ext cx="1729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B</a:t>
            </a:r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atch system (compute nodes)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AD691BE-14F9-467E-4144-4DC7BA260EC2}"/>
              </a:ext>
            </a:extLst>
          </p:cNvPr>
          <p:cNvSpPr txBox="1"/>
          <p:nvPr/>
        </p:nvSpPr>
        <p:spPr>
          <a:xfrm>
            <a:off x="6144482" y="5474755"/>
            <a:ext cx="5181593" cy="9139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CEC41F6-5D02-20FE-0087-8454068098E7}"/>
              </a:ext>
            </a:extLst>
          </p:cNvPr>
          <p:cNvSpPr txBox="1"/>
          <p:nvPr/>
        </p:nvSpPr>
        <p:spPr>
          <a:xfrm>
            <a:off x="7865122" y="5747043"/>
            <a:ext cx="1826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noresm2nc4mpi</a:t>
            </a:r>
            <a:endParaRPr lang="en-NO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DB34CF4-C0D3-FC4C-1188-626E892B4F03}"/>
              </a:ext>
            </a:extLst>
          </p:cNvPr>
          <p:cNvSpPr txBox="1"/>
          <p:nvPr/>
        </p:nvSpPr>
        <p:spPr>
          <a:xfrm>
            <a:off x="6144482" y="4199963"/>
            <a:ext cx="5181600" cy="1107982"/>
          </a:xfrm>
          <a:prstGeom prst="rect">
            <a:avLst/>
          </a:prstGeom>
          <a:solidFill>
            <a:srgbClr val="FEFADE"/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53314A4-6301-C0E7-7727-3A190A98F777}"/>
              </a:ext>
            </a:extLst>
          </p:cNvPr>
          <p:cNvSpPr txBox="1"/>
          <p:nvPr/>
        </p:nvSpPr>
        <p:spPr>
          <a:xfrm>
            <a:off x="6838743" y="4551645"/>
            <a:ext cx="41088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mpress</a:t>
            </a:r>
            <a:r>
              <a:rPr lang="en-NO" dirty="0"/>
              <a:t>_ensemble.sh &lt;settings file&gt;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9CDA44A8-4C99-2191-EAC7-04EACD56150C}"/>
              </a:ext>
            </a:extLst>
          </p:cNvPr>
          <p:cNvCxnSpPr>
            <a:cxnSpLocks/>
          </p:cNvCxnSpPr>
          <p:nvPr/>
        </p:nvCxnSpPr>
        <p:spPr>
          <a:xfrm>
            <a:off x="8752629" y="4920977"/>
            <a:ext cx="0" cy="7743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165B7E7F-4F1B-0019-E996-F33F489C82EF}"/>
              </a:ext>
            </a:extLst>
          </p:cNvPr>
          <p:cNvSpPr txBox="1"/>
          <p:nvPr/>
        </p:nvSpPr>
        <p:spPr>
          <a:xfrm>
            <a:off x="9596114" y="5817870"/>
            <a:ext cx="1729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B</a:t>
            </a:r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atch system (compute nodes)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123A7B3-76EA-1375-E004-7E9EC8952CC7}"/>
              </a:ext>
            </a:extLst>
          </p:cNvPr>
          <p:cNvSpPr txBox="1"/>
          <p:nvPr/>
        </p:nvSpPr>
        <p:spPr>
          <a:xfrm>
            <a:off x="10079218" y="2002141"/>
            <a:ext cx="12822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Login nod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9F8E5CB-2916-B397-AE11-C00DD5745016}"/>
              </a:ext>
            </a:extLst>
          </p:cNvPr>
          <p:cNvSpPr txBox="1"/>
          <p:nvPr/>
        </p:nvSpPr>
        <p:spPr>
          <a:xfrm>
            <a:off x="10079218" y="4956109"/>
            <a:ext cx="12822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Login nod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386EEBC-4389-2A91-D9CD-2ACB7276C3F2}"/>
              </a:ext>
            </a:extLst>
          </p:cNvPr>
          <p:cNvSpPr txBox="1"/>
          <p:nvPr/>
        </p:nvSpPr>
        <p:spPr>
          <a:xfrm flipH="1">
            <a:off x="643008" y="1275428"/>
            <a:ext cx="252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dirty="0"/>
              <a:t>1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05000D0-BE74-07D5-1588-8D6D61A13692}"/>
              </a:ext>
            </a:extLst>
          </p:cNvPr>
          <p:cNvSpPr txBox="1"/>
          <p:nvPr/>
        </p:nvSpPr>
        <p:spPr>
          <a:xfrm flipH="1">
            <a:off x="6136179" y="1246228"/>
            <a:ext cx="252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dirty="0"/>
              <a:t>2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9A461E0-E895-8353-3734-CF4F3C5584BD}"/>
              </a:ext>
            </a:extLst>
          </p:cNvPr>
          <p:cNvSpPr txBox="1"/>
          <p:nvPr/>
        </p:nvSpPr>
        <p:spPr>
          <a:xfrm flipH="1">
            <a:off x="6153733" y="4215049"/>
            <a:ext cx="252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dirty="0"/>
              <a:t>3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B6FE19B-1D48-0441-BB38-BA78BF11B6BB}"/>
              </a:ext>
            </a:extLst>
          </p:cNvPr>
          <p:cNvSpPr txBox="1"/>
          <p:nvPr/>
        </p:nvSpPr>
        <p:spPr>
          <a:xfrm rot="19561569">
            <a:off x="1979312" y="3677695"/>
            <a:ext cx="11785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400" dirty="0">
                <a:solidFill>
                  <a:schemeClr val="bg1">
                    <a:lumMod val="50000"/>
                  </a:schemeClr>
                </a:solidFill>
              </a:rPr>
              <a:t>10-40 node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49577B5-60BF-15BC-DB28-F6FF57DB98E7}"/>
              </a:ext>
            </a:extLst>
          </p:cNvPr>
          <p:cNvSpPr txBox="1"/>
          <p:nvPr/>
        </p:nvSpPr>
        <p:spPr>
          <a:xfrm rot="2087687">
            <a:off x="3520953" y="3654770"/>
            <a:ext cx="7312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400" dirty="0">
                <a:solidFill>
                  <a:schemeClr val="bg1">
                    <a:lumMod val="50000"/>
                  </a:schemeClr>
                </a:solidFill>
              </a:rPr>
              <a:t>1 nod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4D2D38E-C891-2087-B9A8-330EACEC9C30}"/>
              </a:ext>
            </a:extLst>
          </p:cNvPr>
          <p:cNvSpPr txBox="1"/>
          <p:nvPr/>
        </p:nvSpPr>
        <p:spPr>
          <a:xfrm>
            <a:off x="8784224" y="2507263"/>
            <a:ext cx="6623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400" dirty="0">
                <a:solidFill>
                  <a:schemeClr val="bg1">
                    <a:lumMod val="50000"/>
                  </a:schemeClr>
                </a:solidFill>
              </a:rPr>
              <a:t>1 task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0C51EC5-6838-4052-47D8-E5EF9DF60E5E}"/>
              </a:ext>
            </a:extLst>
          </p:cNvPr>
          <p:cNvSpPr txBox="1"/>
          <p:nvPr/>
        </p:nvSpPr>
        <p:spPr>
          <a:xfrm>
            <a:off x="8769867" y="5474445"/>
            <a:ext cx="8210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400" dirty="0">
                <a:solidFill>
                  <a:schemeClr val="bg1">
                    <a:lumMod val="50000"/>
                  </a:schemeClr>
                </a:solidFill>
              </a:rPr>
              <a:t>4 node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A45319A9-4254-E7BD-0D7D-53A5101893CD}"/>
              </a:ext>
            </a:extLst>
          </p:cNvPr>
          <p:cNvSpPr/>
          <p:nvPr/>
        </p:nvSpPr>
        <p:spPr>
          <a:xfrm>
            <a:off x="5478072" y="743583"/>
            <a:ext cx="6504509" cy="3228463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4BBBF462-5C6A-C939-1F52-A043E99FEBD3}"/>
              </a:ext>
            </a:extLst>
          </p:cNvPr>
          <p:cNvCxnSpPr>
            <a:cxnSpLocks/>
            <a:stCxn id="3" idx="3"/>
          </p:cNvCxnSpPr>
          <p:nvPr/>
        </p:nvCxnSpPr>
        <p:spPr>
          <a:xfrm flipH="1">
            <a:off x="5079157" y="3499249"/>
            <a:ext cx="1351478" cy="606900"/>
          </a:xfrm>
          <a:prstGeom prst="straightConnector1">
            <a:avLst/>
          </a:prstGeom>
          <a:ln w="254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FE19D858-4B4B-6A2C-4A0D-CE587EEEFE17}"/>
              </a:ext>
            </a:extLst>
          </p:cNvPr>
          <p:cNvSpPr txBox="1"/>
          <p:nvPr/>
        </p:nvSpPr>
        <p:spPr>
          <a:xfrm>
            <a:off x="7187107" y="3508309"/>
            <a:ext cx="30828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accent6"/>
                </a:solidFill>
              </a:rPr>
              <a:t>w</a:t>
            </a:r>
            <a:r>
              <a:rPr lang="en-NO" b="1" dirty="0">
                <a:solidFill>
                  <a:schemeClr val="accent6"/>
                </a:solidFill>
              </a:rPr>
              <a:t>ill soon be merged into 1</a:t>
            </a:r>
          </a:p>
        </p:txBody>
      </p:sp>
    </p:spTree>
    <p:extLst>
      <p:ext uri="{BB962C8B-B14F-4D97-AF65-F5344CB8AC3E}">
        <p14:creationId xmlns:p14="http://schemas.microsoft.com/office/powerpoint/2010/main" val="35737909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0561C1F1-E48F-CF1A-5815-263414B75DD4}"/>
              </a:ext>
            </a:extLst>
          </p:cNvPr>
          <p:cNvSpPr txBox="1"/>
          <p:nvPr/>
        </p:nvSpPr>
        <p:spPr>
          <a:xfrm>
            <a:off x="626659" y="2521019"/>
            <a:ext cx="5181600" cy="386061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Workflow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15</a:t>
            </a:fld>
            <a:endParaRPr lang="nb-N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F048D0-418F-672F-E9CE-E7D61E404982}"/>
              </a:ext>
            </a:extLst>
          </p:cNvPr>
          <p:cNvSpPr txBox="1"/>
          <p:nvPr/>
        </p:nvSpPr>
        <p:spPr>
          <a:xfrm>
            <a:off x="2257616" y="3176834"/>
            <a:ext cx="19543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/>
              <a:t>run_ensemble.s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73DE0D2-D946-4830-84AB-EB779A32D608}"/>
              </a:ext>
            </a:extLst>
          </p:cNvPr>
          <p:cNvSpPr txBox="1"/>
          <p:nvPr/>
        </p:nvSpPr>
        <p:spPr>
          <a:xfrm>
            <a:off x="626659" y="1246228"/>
            <a:ext cx="5181600" cy="1107982"/>
          </a:xfrm>
          <a:prstGeom prst="rect">
            <a:avLst/>
          </a:prstGeom>
          <a:solidFill>
            <a:srgbClr val="FEFADE"/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35B963A-F567-B230-0FCE-01A54FCABC0A}"/>
              </a:ext>
            </a:extLst>
          </p:cNvPr>
          <p:cNvSpPr txBox="1"/>
          <p:nvPr/>
        </p:nvSpPr>
        <p:spPr>
          <a:xfrm>
            <a:off x="1320920" y="1433020"/>
            <a:ext cx="378821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reate</a:t>
            </a:r>
            <a:r>
              <a:rPr lang="en-NO" dirty="0"/>
              <a:t>_ensemble.sh &lt;settings file&gt;</a:t>
            </a:r>
            <a:endParaRPr lang="en-GB" dirty="0"/>
          </a:p>
          <a:p>
            <a:r>
              <a:rPr lang="en-GB" dirty="0"/>
              <a:t>s</a:t>
            </a:r>
            <a:r>
              <a:rPr lang="en-NO" dirty="0"/>
              <a:t>ubmit_ensemble.sh &lt;settings file&gt;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59D2482-3D3B-B927-2BB2-C870C1F8FE6D}"/>
              </a:ext>
            </a:extLst>
          </p:cNvPr>
          <p:cNvSpPr txBox="1"/>
          <p:nvPr/>
        </p:nvSpPr>
        <p:spPr>
          <a:xfrm>
            <a:off x="1113713" y="4279387"/>
            <a:ext cx="19415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/>
              <a:t>NorESM</a:t>
            </a:r>
          </a:p>
          <a:p>
            <a:r>
              <a:rPr lang="en-NO" dirty="0"/>
              <a:t>- pause&amp;resume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81BB90-D83D-5146-D0D7-81942D35211D}"/>
              </a:ext>
            </a:extLst>
          </p:cNvPr>
          <p:cNvSpPr txBox="1"/>
          <p:nvPr/>
        </p:nvSpPr>
        <p:spPr>
          <a:xfrm>
            <a:off x="3555407" y="4251109"/>
            <a:ext cx="1659429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a</a:t>
            </a:r>
            <a:r>
              <a:rPr lang="en-NO" dirty="0"/>
              <a:t>ssim_step.sh</a:t>
            </a:r>
          </a:p>
          <a:p>
            <a:pPr marL="285750" indent="-285750">
              <a:buFontTx/>
              <a:buChar char="-"/>
            </a:pPr>
            <a:r>
              <a:rPr lang="en-GB" dirty="0" err="1"/>
              <a:t>prep_obs</a:t>
            </a:r>
            <a:endParaRPr lang="en-GB" dirty="0"/>
          </a:p>
          <a:p>
            <a:pPr marL="285750" indent="-285750">
              <a:buFontTx/>
              <a:buChar char="-"/>
            </a:pPr>
            <a:r>
              <a:rPr lang="en-GB" dirty="0" err="1"/>
              <a:t>EnKF</a:t>
            </a:r>
            <a:endParaRPr lang="en-GB" dirty="0"/>
          </a:p>
          <a:p>
            <a:pPr marL="285750" indent="-285750">
              <a:buFontTx/>
              <a:buChar char="-"/>
            </a:pPr>
            <a:r>
              <a:rPr lang="en-GB" strike="sngStrike" dirty="0" err="1"/>
              <a:t>micom_init</a:t>
            </a:r>
            <a:endParaRPr lang="en-GB" strike="sngStrike" dirty="0"/>
          </a:p>
          <a:p>
            <a:pPr marL="285750" indent="-285750">
              <a:buFontTx/>
              <a:buChar char="-"/>
            </a:pPr>
            <a:r>
              <a:rPr lang="en-GB" strike="sngStrike" dirty="0" err="1"/>
              <a:t>fix_enkf</a:t>
            </a:r>
            <a:endParaRPr lang="en-NO" strike="sngStrike" dirty="0"/>
          </a:p>
          <a:p>
            <a:endParaRPr lang="en-NO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9AB625B-E874-69D6-4DA9-F3500D3D6AAE}"/>
              </a:ext>
            </a:extLst>
          </p:cNvPr>
          <p:cNvCxnSpPr>
            <a:cxnSpLocks/>
            <a:stCxn id="7" idx="2"/>
          </p:cNvCxnSpPr>
          <p:nvPr/>
        </p:nvCxnSpPr>
        <p:spPr>
          <a:xfrm>
            <a:off x="3215029" y="2079351"/>
            <a:ext cx="19777" cy="10974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7C9B004-2592-3051-6AC8-C352ED7AB1A8}"/>
              </a:ext>
            </a:extLst>
          </p:cNvPr>
          <p:cNvCxnSpPr>
            <a:cxnSpLocks/>
            <a:stCxn id="6" idx="2"/>
            <a:endCxn id="8" idx="0"/>
          </p:cNvCxnSpPr>
          <p:nvPr/>
        </p:nvCxnSpPr>
        <p:spPr>
          <a:xfrm flipH="1">
            <a:off x="2084492" y="3546166"/>
            <a:ext cx="1150315" cy="7332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15623E52-1550-86C6-0FCA-5C0F00EC2AA4}"/>
              </a:ext>
            </a:extLst>
          </p:cNvPr>
          <p:cNvCxnSpPr>
            <a:cxnSpLocks/>
            <a:stCxn id="6" idx="2"/>
            <a:endCxn id="9" idx="0"/>
          </p:cNvCxnSpPr>
          <p:nvPr/>
        </p:nvCxnSpPr>
        <p:spPr>
          <a:xfrm>
            <a:off x="3234807" y="3546166"/>
            <a:ext cx="1150315" cy="7049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98CB6615-147D-23FB-3CF6-75925214E9BE}"/>
              </a:ext>
            </a:extLst>
          </p:cNvPr>
          <p:cNvSpPr txBox="1"/>
          <p:nvPr/>
        </p:nvSpPr>
        <p:spPr>
          <a:xfrm>
            <a:off x="4102222" y="5816212"/>
            <a:ext cx="1729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B</a:t>
            </a:r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atch system (compute nodes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8CD26CE-29B8-2047-5A03-B74D2E47B488}"/>
              </a:ext>
            </a:extLst>
          </p:cNvPr>
          <p:cNvSpPr txBox="1"/>
          <p:nvPr/>
        </p:nvSpPr>
        <p:spPr>
          <a:xfrm>
            <a:off x="4560723" y="1972156"/>
            <a:ext cx="12822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Login nod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E259E4E-B1A1-9931-E180-0C4EEBC7CEB4}"/>
              </a:ext>
            </a:extLst>
          </p:cNvPr>
          <p:cNvSpPr txBox="1"/>
          <p:nvPr/>
        </p:nvSpPr>
        <p:spPr>
          <a:xfrm>
            <a:off x="6114628" y="2522591"/>
            <a:ext cx="5181593" cy="9139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03B0C1C-74AD-F8C7-A7DA-EFA183DFC1DD}"/>
              </a:ext>
            </a:extLst>
          </p:cNvPr>
          <p:cNvSpPr txBox="1"/>
          <p:nvPr/>
        </p:nvSpPr>
        <p:spPr>
          <a:xfrm>
            <a:off x="7722145" y="2794879"/>
            <a:ext cx="20954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</a:t>
            </a:r>
            <a:r>
              <a:rPr lang="en-NO" dirty="0"/>
              <a:t>ase.st_archive.sh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78FAC02-1C17-B10A-AC9C-07326E11BEE5}"/>
              </a:ext>
            </a:extLst>
          </p:cNvPr>
          <p:cNvSpPr txBox="1"/>
          <p:nvPr/>
        </p:nvSpPr>
        <p:spPr>
          <a:xfrm>
            <a:off x="6114628" y="1247799"/>
            <a:ext cx="5181600" cy="1107982"/>
          </a:xfrm>
          <a:prstGeom prst="rect">
            <a:avLst/>
          </a:prstGeom>
          <a:solidFill>
            <a:srgbClr val="FEFADE"/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6E6E29A-0CEA-3D50-27CE-EB5C998F9BF3}"/>
              </a:ext>
            </a:extLst>
          </p:cNvPr>
          <p:cNvSpPr txBox="1"/>
          <p:nvPr/>
        </p:nvSpPr>
        <p:spPr>
          <a:xfrm>
            <a:off x="6808889" y="1599481"/>
            <a:ext cx="3852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rchive</a:t>
            </a:r>
            <a:r>
              <a:rPr lang="en-NO" dirty="0"/>
              <a:t>_ensemble.sh &lt;settings file&gt;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A9066B25-3211-F5D7-514E-DB630F326FF3}"/>
              </a:ext>
            </a:extLst>
          </p:cNvPr>
          <p:cNvCxnSpPr>
            <a:cxnSpLocks/>
          </p:cNvCxnSpPr>
          <p:nvPr/>
        </p:nvCxnSpPr>
        <p:spPr>
          <a:xfrm>
            <a:off x="8722775" y="1968813"/>
            <a:ext cx="0" cy="7743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8C74BF2C-6945-6CFB-CC6A-44D3BBCB02C0}"/>
              </a:ext>
            </a:extLst>
          </p:cNvPr>
          <p:cNvSpPr txBox="1"/>
          <p:nvPr/>
        </p:nvSpPr>
        <p:spPr>
          <a:xfrm>
            <a:off x="9566260" y="2865706"/>
            <a:ext cx="1729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B</a:t>
            </a:r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atch system (compute nodes)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AD691BE-14F9-467E-4144-4DC7BA260EC2}"/>
              </a:ext>
            </a:extLst>
          </p:cNvPr>
          <p:cNvSpPr txBox="1"/>
          <p:nvPr/>
        </p:nvSpPr>
        <p:spPr>
          <a:xfrm>
            <a:off x="6144482" y="5474755"/>
            <a:ext cx="5181593" cy="9139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CEC41F6-5D02-20FE-0087-8454068098E7}"/>
              </a:ext>
            </a:extLst>
          </p:cNvPr>
          <p:cNvSpPr txBox="1"/>
          <p:nvPr/>
        </p:nvSpPr>
        <p:spPr>
          <a:xfrm>
            <a:off x="7865122" y="5747043"/>
            <a:ext cx="1826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noresm2nc4mpi</a:t>
            </a:r>
            <a:endParaRPr lang="en-NO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DB34CF4-C0D3-FC4C-1188-626E892B4F03}"/>
              </a:ext>
            </a:extLst>
          </p:cNvPr>
          <p:cNvSpPr txBox="1"/>
          <p:nvPr/>
        </p:nvSpPr>
        <p:spPr>
          <a:xfrm>
            <a:off x="6144482" y="4199963"/>
            <a:ext cx="5181600" cy="1107982"/>
          </a:xfrm>
          <a:prstGeom prst="rect">
            <a:avLst/>
          </a:prstGeom>
          <a:solidFill>
            <a:srgbClr val="FEFADE"/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53314A4-6301-C0E7-7727-3A190A98F777}"/>
              </a:ext>
            </a:extLst>
          </p:cNvPr>
          <p:cNvSpPr txBox="1"/>
          <p:nvPr/>
        </p:nvSpPr>
        <p:spPr>
          <a:xfrm>
            <a:off x="6838743" y="4551645"/>
            <a:ext cx="41088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mpress</a:t>
            </a:r>
            <a:r>
              <a:rPr lang="en-NO" dirty="0"/>
              <a:t>_ensemble.sh &lt;settings file&gt;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9CDA44A8-4C99-2191-EAC7-04EACD56150C}"/>
              </a:ext>
            </a:extLst>
          </p:cNvPr>
          <p:cNvCxnSpPr>
            <a:cxnSpLocks/>
          </p:cNvCxnSpPr>
          <p:nvPr/>
        </p:nvCxnSpPr>
        <p:spPr>
          <a:xfrm>
            <a:off x="8752629" y="4920977"/>
            <a:ext cx="0" cy="7743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165B7E7F-4F1B-0019-E996-F33F489C82EF}"/>
              </a:ext>
            </a:extLst>
          </p:cNvPr>
          <p:cNvSpPr txBox="1"/>
          <p:nvPr/>
        </p:nvSpPr>
        <p:spPr>
          <a:xfrm>
            <a:off x="9596114" y="5817870"/>
            <a:ext cx="1729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B</a:t>
            </a:r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atch system (compute nodes)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123A7B3-76EA-1375-E004-7E9EC8952CC7}"/>
              </a:ext>
            </a:extLst>
          </p:cNvPr>
          <p:cNvSpPr txBox="1"/>
          <p:nvPr/>
        </p:nvSpPr>
        <p:spPr>
          <a:xfrm>
            <a:off x="10079218" y="2002141"/>
            <a:ext cx="12822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Login nod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9F8E5CB-2916-B397-AE11-C00DD5745016}"/>
              </a:ext>
            </a:extLst>
          </p:cNvPr>
          <p:cNvSpPr txBox="1"/>
          <p:nvPr/>
        </p:nvSpPr>
        <p:spPr>
          <a:xfrm>
            <a:off x="10079218" y="4956109"/>
            <a:ext cx="12822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Login nod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386EEBC-4389-2A91-D9CD-2ACB7276C3F2}"/>
              </a:ext>
            </a:extLst>
          </p:cNvPr>
          <p:cNvSpPr txBox="1"/>
          <p:nvPr/>
        </p:nvSpPr>
        <p:spPr>
          <a:xfrm flipH="1">
            <a:off x="643008" y="1275428"/>
            <a:ext cx="252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dirty="0"/>
              <a:t>1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05000D0-BE74-07D5-1588-8D6D61A13692}"/>
              </a:ext>
            </a:extLst>
          </p:cNvPr>
          <p:cNvSpPr txBox="1"/>
          <p:nvPr/>
        </p:nvSpPr>
        <p:spPr>
          <a:xfrm flipH="1">
            <a:off x="6136179" y="1246228"/>
            <a:ext cx="252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dirty="0"/>
              <a:t>2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9A461E0-E895-8353-3734-CF4F3C5584BD}"/>
              </a:ext>
            </a:extLst>
          </p:cNvPr>
          <p:cNvSpPr txBox="1"/>
          <p:nvPr/>
        </p:nvSpPr>
        <p:spPr>
          <a:xfrm flipH="1">
            <a:off x="6153733" y="4215049"/>
            <a:ext cx="252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dirty="0"/>
              <a:t>3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B6FE19B-1D48-0441-BB38-BA78BF11B6BB}"/>
              </a:ext>
            </a:extLst>
          </p:cNvPr>
          <p:cNvSpPr txBox="1"/>
          <p:nvPr/>
        </p:nvSpPr>
        <p:spPr>
          <a:xfrm rot="19561569">
            <a:off x="1979312" y="3677695"/>
            <a:ext cx="11785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400" dirty="0">
                <a:solidFill>
                  <a:schemeClr val="bg1">
                    <a:lumMod val="50000"/>
                  </a:schemeClr>
                </a:solidFill>
              </a:rPr>
              <a:t>10-40 node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49577B5-60BF-15BC-DB28-F6FF57DB98E7}"/>
              </a:ext>
            </a:extLst>
          </p:cNvPr>
          <p:cNvSpPr txBox="1"/>
          <p:nvPr/>
        </p:nvSpPr>
        <p:spPr>
          <a:xfrm rot="2087687">
            <a:off x="3520953" y="3654770"/>
            <a:ext cx="7312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400" dirty="0">
                <a:solidFill>
                  <a:schemeClr val="bg1">
                    <a:lumMod val="50000"/>
                  </a:schemeClr>
                </a:solidFill>
              </a:rPr>
              <a:t>1 nod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4D2D38E-C891-2087-B9A8-330EACEC9C30}"/>
              </a:ext>
            </a:extLst>
          </p:cNvPr>
          <p:cNvSpPr txBox="1"/>
          <p:nvPr/>
        </p:nvSpPr>
        <p:spPr>
          <a:xfrm>
            <a:off x="8784224" y="2507263"/>
            <a:ext cx="6623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400" dirty="0">
                <a:solidFill>
                  <a:schemeClr val="bg1">
                    <a:lumMod val="50000"/>
                  </a:schemeClr>
                </a:solidFill>
              </a:rPr>
              <a:t>1 task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0C51EC5-6838-4052-47D8-E5EF9DF60E5E}"/>
              </a:ext>
            </a:extLst>
          </p:cNvPr>
          <p:cNvSpPr txBox="1"/>
          <p:nvPr/>
        </p:nvSpPr>
        <p:spPr>
          <a:xfrm>
            <a:off x="8769867" y="5474445"/>
            <a:ext cx="8210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400" dirty="0">
                <a:solidFill>
                  <a:schemeClr val="bg1">
                    <a:lumMod val="50000"/>
                  </a:schemeClr>
                </a:solidFill>
              </a:rPr>
              <a:t>4 nodes</a:t>
            </a:r>
          </a:p>
        </p:txBody>
      </p:sp>
    </p:spTree>
    <p:extLst>
      <p:ext uri="{BB962C8B-B14F-4D97-AF65-F5344CB8AC3E}">
        <p14:creationId xmlns:p14="http://schemas.microsoft.com/office/powerpoint/2010/main" val="23217536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6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 err="1"/>
              <a:t>Customizing</a:t>
            </a:r>
            <a:r>
              <a:rPr lang="nb-NO" sz="2200" dirty="0"/>
              <a:t> NorESM2 (</a:t>
            </a:r>
            <a:r>
              <a:rPr lang="nb-NO" sz="2200" dirty="0" err="1"/>
              <a:t>cpu</a:t>
            </a:r>
            <a:r>
              <a:rPr lang="nb-NO" sz="2200" dirty="0"/>
              <a:t> settings, </a:t>
            </a:r>
            <a:r>
              <a:rPr lang="nb-NO" sz="2200" dirty="0" err="1"/>
              <a:t>source</a:t>
            </a:r>
            <a:r>
              <a:rPr lang="nb-NO" sz="2200" dirty="0"/>
              <a:t> </a:t>
            </a:r>
            <a:r>
              <a:rPr lang="nb-NO" sz="2200" dirty="0" err="1"/>
              <a:t>code</a:t>
            </a:r>
            <a:r>
              <a:rPr lang="nb-NO" sz="2200" dirty="0"/>
              <a:t>, </a:t>
            </a:r>
            <a:r>
              <a:rPr lang="nb-NO" sz="2200" dirty="0" err="1"/>
              <a:t>diagnostic</a:t>
            </a:r>
            <a:r>
              <a:rPr lang="nb-NO" sz="2200" dirty="0"/>
              <a:t> output)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1321996" cy="5623201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nb-NO" sz="20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nb-NO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nb-NO" sz="20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up</a:t>
            </a:r>
            <a:r>
              <a:rPr lang="nb-NO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noresm2/</a:t>
            </a:r>
            <a:r>
              <a:rPr lang="nb-NO" sz="20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user_mods</a:t>
            </a:r>
            <a:r>
              <a:rPr lang="nb-NO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contains</a:t>
            </a:r>
            <a:r>
              <a:rPr lang="nb-NO" sz="2000" dirty="0">
                <a:solidFill>
                  <a:schemeClr val="tx1"/>
                </a:solidFill>
              </a:rPr>
              <a:t> NorESM2 </a:t>
            </a:r>
            <a:r>
              <a:rPr lang="nb-NO" sz="2000" dirty="0" err="1">
                <a:solidFill>
                  <a:schemeClr val="tx1"/>
                </a:solidFill>
              </a:rPr>
              <a:t>customization</a:t>
            </a:r>
            <a:r>
              <a:rPr lang="nb-NO" sz="2000" dirty="0">
                <a:solidFill>
                  <a:schemeClr val="tx1"/>
                </a:solidFill>
              </a:rPr>
              <a:t> folders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</a:p>
          <a:p>
            <a:pPr marL="180000" lvl="3" indent="0">
              <a:buNone/>
            </a:pPr>
            <a:r>
              <a:rPr lang="en-GB" sz="1600" dirty="0">
                <a:solidFill>
                  <a:srgbClr val="3C5FFF"/>
                </a:solidFill>
                <a:effectLst/>
                <a:latin typeface="Menlo" panose="020B0609030804020204" pitchFamily="49" charset="0"/>
              </a:rPr>
              <a:t>noresm2-lm_128pes</a:t>
            </a:r>
          </a:p>
          <a:p>
            <a:pPr marL="180000" lvl="3" indent="0">
              <a:buNone/>
            </a:pPr>
            <a:r>
              <a:rPr lang="en-GB" sz="1600" dirty="0">
                <a:solidFill>
                  <a:srgbClr val="3C5FFF"/>
                </a:solidFill>
                <a:effectLst/>
                <a:latin typeface="Menlo" panose="020B0609030804020204" pitchFamily="49" charset="0"/>
              </a:rPr>
              <a:t>noresm2-lm_640pes</a:t>
            </a:r>
          </a:p>
          <a:p>
            <a:pPr marL="180000" lvl="3" indent="0">
              <a:buNone/>
            </a:pPr>
            <a:r>
              <a:rPr lang="en-GB" sz="1600" dirty="0">
                <a:solidFill>
                  <a:srgbClr val="3C5FFF"/>
                </a:solidFill>
                <a:effectLst/>
                <a:latin typeface="Menlo" panose="020B0609030804020204" pitchFamily="49" charset="0"/>
              </a:rPr>
              <a:t>noresm2-lm_clmda_128pes</a:t>
            </a:r>
          </a:p>
          <a:p>
            <a:pPr marL="180000" lvl="3" indent="0">
              <a:buNone/>
            </a:pPr>
            <a:r>
              <a:rPr lang="en-GB" sz="1600" dirty="0">
                <a:solidFill>
                  <a:srgbClr val="3C5FFF"/>
                </a:solidFill>
                <a:effectLst/>
                <a:latin typeface="Menlo" panose="020B0609030804020204" pitchFamily="49" charset="0"/>
              </a:rPr>
              <a:t>noresm2-lmesm_128pes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nb-NO" sz="2000" dirty="0" err="1">
                <a:solidFill>
                  <a:schemeClr val="tx1"/>
                </a:solidFill>
              </a:rPr>
              <a:t>Each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customization</a:t>
            </a:r>
            <a:r>
              <a:rPr lang="nb-NO" sz="2000" dirty="0">
                <a:solidFill>
                  <a:schemeClr val="tx1"/>
                </a:solidFill>
              </a:rPr>
              <a:t> folder </a:t>
            </a:r>
            <a:r>
              <a:rPr lang="nb-NO" sz="2000" dirty="0" err="1">
                <a:solidFill>
                  <a:schemeClr val="tx1"/>
                </a:solidFill>
              </a:rPr>
              <a:t>countains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</a:p>
          <a:p>
            <a:pPr lvl="1"/>
            <a:r>
              <a:rPr lang="nb-NO" sz="2000" dirty="0" err="1">
                <a:solidFill>
                  <a:schemeClr val="tx1"/>
                </a:solidFill>
              </a:rPr>
              <a:t>env_mach_pes.xml</a:t>
            </a:r>
            <a:r>
              <a:rPr lang="nb-NO" sz="2000" dirty="0">
                <a:solidFill>
                  <a:schemeClr val="tx1"/>
                </a:solidFill>
              </a:rPr>
              <a:t>: </a:t>
            </a:r>
            <a:r>
              <a:rPr lang="nb-NO" sz="2000" dirty="0" err="1">
                <a:solidFill>
                  <a:schemeClr val="tx1"/>
                </a:solidFill>
              </a:rPr>
              <a:t>specifies</a:t>
            </a:r>
            <a:r>
              <a:rPr lang="nb-NO" sz="2000" dirty="0">
                <a:solidFill>
                  <a:schemeClr val="tx1"/>
                </a:solidFill>
              </a:rPr>
              <a:t> pes/</a:t>
            </a:r>
            <a:r>
              <a:rPr lang="nb-NO" sz="2000" dirty="0" err="1">
                <a:solidFill>
                  <a:schemeClr val="tx1"/>
                </a:solidFill>
              </a:rPr>
              <a:t>cpu</a:t>
            </a:r>
            <a:r>
              <a:rPr lang="nb-NO" sz="2000" dirty="0">
                <a:solidFill>
                  <a:schemeClr val="tx1"/>
                </a:solidFill>
              </a:rPr>
              <a:t> settings</a:t>
            </a:r>
          </a:p>
          <a:p>
            <a:pPr lvl="1"/>
            <a:r>
              <a:rPr lang="nb-NO" sz="2000" dirty="0" err="1">
                <a:solidFill>
                  <a:schemeClr val="tx1"/>
                </a:solidFill>
              </a:rPr>
              <a:t>SourceMods</a:t>
            </a:r>
            <a:r>
              <a:rPr lang="nb-NO" sz="2000" dirty="0">
                <a:solidFill>
                  <a:schemeClr val="tx1"/>
                </a:solidFill>
              </a:rPr>
              <a:t>: </a:t>
            </a:r>
            <a:r>
              <a:rPr lang="nb-NO" sz="2000" dirty="0" err="1">
                <a:solidFill>
                  <a:schemeClr val="tx1"/>
                </a:solidFill>
              </a:rPr>
              <a:t>customized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source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code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should</a:t>
            </a:r>
            <a:r>
              <a:rPr lang="nb-NO" sz="2000" dirty="0">
                <a:solidFill>
                  <a:schemeClr val="tx1"/>
                </a:solidFill>
              </a:rPr>
              <a:t> be </a:t>
            </a:r>
            <a:r>
              <a:rPr lang="nb-NO" sz="2000" dirty="0" err="1">
                <a:solidFill>
                  <a:schemeClr val="tx1"/>
                </a:solidFill>
              </a:rPr>
              <a:t>placed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there</a:t>
            </a:r>
            <a:endParaRPr lang="nb-NO" sz="2000" dirty="0">
              <a:solidFill>
                <a:schemeClr val="tx1"/>
              </a:solidFill>
            </a:endParaRPr>
          </a:p>
          <a:p>
            <a:pPr lvl="1"/>
            <a:r>
              <a:rPr lang="nb-NO" sz="2000" dirty="0" err="1">
                <a:solidFill>
                  <a:schemeClr val="tx1"/>
                </a:solidFill>
              </a:rPr>
              <a:t>user_nl</a:t>
            </a:r>
            <a:r>
              <a:rPr lang="nb-NO" sz="2000" dirty="0">
                <a:solidFill>
                  <a:schemeClr val="tx1"/>
                </a:solidFill>
              </a:rPr>
              <a:t>_*: </a:t>
            </a:r>
            <a:r>
              <a:rPr lang="nb-NO" sz="2000" dirty="0" err="1">
                <a:solidFill>
                  <a:schemeClr val="tx1"/>
                </a:solidFill>
              </a:rPr>
              <a:t>user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namelists</a:t>
            </a:r>
            <a:r>
              <a:rPr lang="nb-NO" sz="2000" dirty="0">
                <a:solidFill>
                  <a:schemeClr val="tx1"/>
                </a:solidFill>
              </a:rPr>
              <a:t> used to </a:t>
            </a:r>
            <a:r>
              <a:rPr lang="nb-NO" sz="2000" dirty="0" err="1">
                <a:solidFill>
                  <a:schemeClr val="tx1"/>
                </a:solidFill>
              </a:rPr>
              <a:t>customize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diagnostic</a:t>
            </a:r>
            <a:r>
              <a:rPr lang="nb-NO" sz="2000" dirty="0">
                <a:solidFill>
                  <a:schemeClr val="tx1"/>
                </a:solidFill>
              </a:rPr>
              <a:t> output</a:t>
            </a:r>
          </a:p>
          <a:p>
            <a:pPr lvl="1"/>
            <a:endParaRPr lang="nb-NO" sz="20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nb-NO" sz="2000" dirty="0" err="1">
                <a:solidFill>
                  <a:schemeClr val="tx1"/>
                </a:solidFill>
              </a:rPr>
              <a:t>Can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create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new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customization</a:t>
            </a:r>
            <a:r>
              <a:rPr lang="nb-NO" sz="2000" dirty="0">
                <a:solidFill>
                  <a:schemeClr val="tx1"/>
                </a:solidFill>
              </a:rPr>
              <a:t> folder and </a:t>
            </a:r>
            <a:r>
              <a:rPr lang="nb-NO" sz="2000" dirty="0" err="1">
                <a:solidFill>
                  <a:schemeClr val="tx1"/>
                </a:solidFill>
              </a:rPr>
              <a:t>point</a:t>
            </a:r>
            <a:r>
              <a:rPr lang="nb-NO" sz="2000" dirty="0">
                <a:solidFill>
                  <a:schemeClr val="tx1"/>
                </a:solidFill>
              </a:rPr>
              <a:t> to it in </a:t>
            </a:r>
            <a:r>
              <a:rPr lang="nb-NO" sz="2000" dirty="0" err="1">
                <a:solidFill>
                  <a:schemeClr val="tx1"/>
                </a:solidFill>
              </a:rPr>
              <a:t>experiment</a:t>
            </a:r>
            <a:r>
              <a:rPr lang="nb-NO" sz="2000" dirty="0">
                <a:solidFill>
                  <a:schemeClr val="tx1"/>
                </a:solidFill>
              </a:rPr>
              <a:t> settings file (</a:t>
            </a:r>
            <a:r>
              <a:rPr lang="nb-NO" sz="2000" dirty="0" err="1">
                <a:solidFill>
                  <a:schemeClr val="tx1"/>
                </a:solidFill>
              </a:rPr>
              <a:t>next</a:t>
            </a:r>
            <a:r>
              <a:rPr lang="nb-NO" sz="2000" dirty="0">
                <a:solidFill>
                  <a:schemeClr val="tx1"/>
                </a:solidFill>
              </a:rPr>
              <a:t> slides)</a:t>
            </a:r>
            <a:r>
              <a:rPr lang="nb-NO" sz="2200" dirty="0">
                <a:solidFill>
                  <a:schemeClr val="tx1"/>
                </a:solidFill>
              </a:rPr>
              <a:t>      </a:t>
            </a:r>
          </a:p>
        </p:txBody>
      </p:sp>
    </p:spTree>
    <p:extLst>
      <p:ext uri="{BB962C8B-B14F-4D97-AF65-F5344CB8AC3E}">
        <p14:creationId xmlns:p14="http://schemas.microsoft.com/office/powerpoint/2010/main" val="1311477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experiment settings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EXPERIMENT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noresm2-lm_odaday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case prefix, not including _</a:t>
            </a:r>
            <a:r>
              <a:rPr lang="en-GB" sz="1600" dirty="0" err="1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YYYYMMDD_memXX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 suffix 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MEMBER1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first member  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ENSSIZE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number of members 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COMPSET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NHISTfrc2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 # need to switch </a:t>
            </a:r>
            <a:r>
              <a:rPr lang="en-GB" sz="1600" dirty="0" err="1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compset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 at start of 2015 </a:t>
            </a:r>
            <a:endParaRPr lang="en-GB" sz="160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USER_MODS_DIR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SETUPROOT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</a:t>
            </a:r>
            <a:r>
              <a:rPr lang="en-GB" sz="1600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user_mods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noresm2-lm_128pes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160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S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f19_tn14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160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START_DATE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996-01-01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YYYY-MM-DD </a:t>
            </a:r>
          </a:p>
          <a:p>
            <a:pPr marL="0" indent="0">
              <a:buNone/>
            </a:pP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job settings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STOP_OPTION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nyears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units for run length specification STOP_N 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STOP_N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run </a:t>
            </a:r>
            <a:r>
              <a:rPr lang="en-GB" sz="1600" dirty="0" err="1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continuesly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 for this length 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START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7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restart this many times  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WALLTIME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sz="1600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96:00:00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 # for debugging use 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sz="1600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00:59:00 –</a:t>
            </a:r>
            <a:r>
              <a:rPr lang="en-GB" sz="1600" dirty="0" err="1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qos</a:t>
            </a:r>
            <a:r>
              <a:rPr lang="en-GB" sz="1600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=</a:t>
            </a:r>
            <a:r>
              <a:rPr lang="en-GB" sz="1600" dirty="0" err="1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devel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ACCOUNT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nn9039k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MAX_PARALLEL_STARCHIVE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30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Settings file – experiment and job settings 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838109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initialisation settings – ref. cases guessed from REF_CASE_PREFIX, REF_CASE_SUFFIX_MEMBER1 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UN_TYPE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branch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CASE_PREFIX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noresm_ctl_19700101_19700101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160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CASE_SUFFIX_MEMBER1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_mem01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PATH_LOCAL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INPUTDATA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ccsm4_init/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REF_CASE_PREFIX}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DATE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START_DATE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</a:t>
            </a: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Settings file – initialisation option 1: guessed reference case names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8</a:t>
            </a:fld>
            <a:endParaRPr lang="nb-NO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A6ECE7-6D19-7277-20AB-18DEE6189A6A}"/>
              </a:ext>
            </a:extLst>
          </p:cNvPr>
          <p:cNvSpPr txBox="1"/>
          <p:nvPr/>
        </p:nvSpPr>
        <p:spPr>
          <a:xfrm>
            <a:off x="3696928" y="4551920"/>
            <a:ext cx="8004183" cy="163121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reference case names guessed from REF_CASE_PREFIX and REF_CASE_SUFFIX_MEMBER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number of references cases &gt;= ENSSIZ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O" sz="2000" dirty="0"/>
              <a:t>RUN_TYPE can be either “branch” or “hybrid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O" sz="2000" dirty="0"/>
              <a:t>available ref dates for NorESM2-LM: 1975, 1985, 1996, 2015 </a:t>
            </a:r>
          </a:p>
        </p:txBody>
      </p:sp>
    </p:spTree>
    <p:extLst>
      <p:ext uri="{BB962C8B-B14F-4D97-AF65-F5344CB8AC3E}">
        <p14:creationId xmlns:p14="http://schemas.microsoft.com/office/powerpoint/2010/main" val="19026601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initialisation settings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UN_TYPE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hybrid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CASE_LIS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noresm_ctl_19700101_19700101_mem01 noresm_ctl_19700101_19700101_mem02 noresm_ctl_19700101_19700101_mem03 noresm_ctl_19700101_19700101_mem04 noresm_ctl_19700101_19700101_mem05 noresm_ctl_19700101_19700101_mem06 noresm_ctl_19700101_19700101_mem07 noresm_ctl_19700101_19700101_mem08 noresm_ctl_19700101_19700101_mem09 noresm_ctl_19700101_19700101_mem10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       </a:t>
            </a:r>
            <a:endParaRPr lang="en-GB" dirty="0">
              <a:solidFill>
                <a:srgbClr val="B42419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PATH_LOCAL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cluster/work/users/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USER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restarts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DATE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START_DATE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ADD_PERTURBATION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only for RUN_TYPE=hybrid</a:t>
            </a:r>
          </a:p>
          <a:p>
            <a:endParaRPr lang="en-GB" dirty="0">
              <a:solidFill>
                <a:srgbClr val="400BD9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Settings file – initialisation option 2: explicitely specified reference case names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9</a:t>
            </a:fld>
            <a:endParaRPr lang="nb-N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6C2EAA5-D1FD-6189-5D0C-A7E7FE7195A4}"/>
              </a:ext>
            </a:extLst>
          </p:cNvPr>
          <p:cNvSpPr txBox="1"/>
          <p:nvPr/>
        </p:nvSpPr>
        <p:spPr>
          <a:xfrm>
            <a:off x="2878111" y="4551920"/>
            <a:ext cx="8823000" cy="101566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reference case names specified with REF_CASE_LI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reference cases cycled if their number is &lt; ENSSIZ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ADD_PERTURBATION=1 adds atmospheric perturbation if RUN_TYPE=1</a:t>
            </a:r>
            <a:endParaRPr lang="en-NO" sz="2000" dirty="0"/>
          </a:p>
        </p:txBody>
      </p:sp>
    </p:spTree>
    <p:extLst>
      <p:ext uri="{BB962C8B-B14F-4D97-AF65-F5344CB8AC3E}">
        <p14:creationId xmlns:p14="http://schemas.microsoft.com/office/powerpoint/2010/main" val="5376719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</a:t>
            </a:fld>
            <a:endParaRPr lang="nb-NO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660710F-6145-2F83-61A8-7362FC738112}"/>
              </a:ext>
            </a:extLst>
          </p:cNvPr>
          <p:cNvSpPr txBox="1"/>
          <p:nvPr/>
        </p:nvSpPr>
        <p:spPr>
          <a:xfrm>
            <a:off x="1019332" y="3094434"/>
            <a:ext cx="102832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NO" sz="3000" dirty="0"/>
              <a:t>Introduction &amp; first results</a:t>
            </a:r>
          </a:p>
        </p:txBody>
      </p:sp>
    </p:spTree>
    <p:extLst>
      <p:ext uri="{BB962C8B-B14F-4D97-AF65-F5344CB8AC3E}">
        <p14:creationId xmlns:p14="http://schemas.microsoft.com/office/powerpoint/2010/main" val="18228712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initialisation settings 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UN_TYPE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hybrid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CASE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N1850frc2_f09_tn14_20191113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PATH_LOCAL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INPUTDATA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ccsm4_init/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REF_CASE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DATE_LIS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1500-01-01 1505-01-01 1510-01-01 1515-01-01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B42419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ADD_PERTURBATION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only for RUN_TYPE=hybrid</a:t>
            </a:r>
          </a:p>
          <a:p>
            <a:pPr marL="0" indent="0">
              <a:buNone/>
            </a:pPr>
            <a:endParaRPr lang="en-GB" dirty="0">
              <a:solidFill>
                <a:srgbClr val="400BD9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Settings file – initialisation option 3: single reference case, multiple reference dates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0</a:t>
            </a:fld>
            <a:endParaRPr lang="nb-N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6C2EAA5-D1FD-6189-5D0C-A7E7FE7195A4}"/>
              </a:ext>
            </a:extLst>
          </p:cNvPr>
          <p:cNvSpPr txBox="1"/>
          <p:nvPr/>
        </p:nvSpPr>
        <p:spPr>
          <a:xfrm>
            <a:off x="3696929" y="4551920"/>
            <a:ext cx="7698658" cy="132343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reference case specified with REF_CASE or REF_CASE_LI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r</a:t>
            </a:r>
            <a:r>
              <a:rPr lang="en-NO" sz="2000" dirty="0"/>
              <a:t>eferences dates specified with REF_DATE_LI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references dates cycled if number of dates &lt; ENSSIZE</a:t>
            </a:r>
            <a:endParaRPr lang="en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O" sz="2000" dirty="0"/>
              <a:t>RUN_TYPE must be “hybrid”</a:t>
            </a:r>
          </a:p>
        </p:txBody>
      </p:sp>
    </p:spTree>
    <p:extLst>
      <p:ext uri="{BB962C8B-B14F-4D97-AF65-F5344CB8AC3E}">
        <p14:creationId xmlns:p14="http://schemas.microsoft.com/office/powerpoint/2010/main" val="38935071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assimilation settings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ASSIMROO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SETUPROOT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../../</a:t>
            </a:r>
            <a:r>
              <a:rPr lang="en-GB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assim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enkf_noresm2_oda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MEAN_MOD_DIR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INPUTDATA_ASSIM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</a:t>
            </a:r>
            <a:r>
              <a:rPr lang="en-GB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enkf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RES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NorESM2-LM-CMIP6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NTASKS_DA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28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NTASKS_ENKF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08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OCNGRIDFILE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INPUTDATA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</a:t>
            </a:r>
            <a:r>
              <a:rPr lang="en-GB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ocn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</a:t>
            </a:r>
            <a:r>
              <a:rPr lang="en-GB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blom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grid/grid_tnx1v4_20170622.nc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OBSLIS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TEM SAL SS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B42419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PRODUCERLIS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EN422 EN422 NOAA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B42419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FREQUENCYLIS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MONTH MONTH DAY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PERIODLIS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1980-2010 1980-2010 1980-2010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B42419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COMBINE_ASSIM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0 0 1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Settings file – assimilation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387127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2</a:t>
            </a:fld>
            <a:endParaRPr lang="nb-NO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660710F-6145-2F83-61A8-7362FC738112}"/>
              </a:ext>
            </a:extLst>
          </p:cNvPr>
          <p:cNvSpPr txBox="1"/>
          <p:nvPr/>
        </p:nvSpPr>
        <p:spPr>
          <a:xfrm>
            <a:off x="1019332" y="3094434"/>
            <a:ext cx="102832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dirty="0"/>
              <a:t>Developer guide</a:t>
            </a:r>
            <a:endParaRPr lang="en-NO" sz="3000" dirty="0"/>
          </a:p>
        </p:txBody>
      </p:sp>
    </p:spTree>
    <p:extLst>
      <p:ext uri="{BB962C8B-B14F-4D97-AF65-F5344CB8AC3E}">
        <p14:creationId xmlns:p14="http://schemas.microsoft.com/office/powerpoint/2010/main" val="34293519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089ECB3-B755-8661-3855-AD9CA748E812}"/>
              </a:ext>
            </a:extLst>
          </p:cNvPr>
          <p:cNvSpPr/>
          <p:nvPr/>
        </p:nvSpPr>
        <p:spPr>
          <a:xfrm>
            <a:off x="1877233" y="1365469"/>
            <a:ext cx="8358581" cy="256195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dirty="0"/>
          </a:p>
          <a:p>
            <a:pPr algn="ctr"/>
            <a:endParaRPr lang="en-NO" dirty="0"/>
          </a:p>
          <a:p>
            <a:pPr algn="ctr"/>
            <a:endParaRPr lang="en-NO" dirty="0"/>
          </a:p>
          <a:p>
            <a:pPr algn="ctr"/>
            <a:endParaRPr lang="en-NO" dirty="0"/>
          </a:p>
          <a:p>
            <a:pPr algn="ctr"/>
            <a:endParaRPr lang="en-NO" dirty="0"/>
          </a:p>
          <a:p>
            <a:pPr algn="ctr"/>
            <a:r>
              <a:rPr lang="en-NO" sz="3000" dirty="0"/>
              <a:t>Github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3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developing</a:t>
            </a:r>
            <a:r>
              <a:rPr lang="nb-NO" sz="2200" dirty="0"/>
              <a:t> </a:t>
            </a:r>
            <a:r>
              <a:rPr lang="nb-NO" sz="2200" dirty="0" err="1"/>
              <a:t>NorESMhub</a:t>
            </a:r>
            <a:r>
              <a:rPr lang="nb-NO" sz="2200" dirty="0"/>
              <a:t>/</a:t>
            </a:r>
            <a:r>
              <a:rPr lang="nb-NO" sz="2200" dirty="0" err="1"/>
              <a:t>NorCPM</a:t>
            </a:r>
            <a:endParaRPr lang="nb-NO" sz="2200" dirty="0"/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694925DA-E8A7-A73C-999C-06F81654E1D4}"/>
              </a:ext>
            </a:extLst>
          </p:cNvPr>
          <p:cNvSpPr/>
          <p:nvPr/>
        </p:nvSpPr>
        <p:spPr>
          <a:xfrm>
            <a:off x="2033944" y="1821572"/>
            <a:ext cx="3362512" cy="81669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O" sz="2400" dirty="0">
                <a:solidFill>
                  <a:schemeClr val="tx1"/>
                </a:solidFill>
              </a:rPr>
              <a:t>NorESMhub/NorCPM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D53CC3E7-1E34-7014-B89C-BABA17AA72A4}"/>
              </a:ext>
            </a:extLst>
          </p:cNvPr>
          <p:cNvSpPr/>
          <p:nvPr/>
        </p:nvSpPr>
        <p:spPr>
          <a:xfrm>
            <a:off x="6716090" y="1821572"/>
            <a:ext cx="3362512" cy="81669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O" sz="2400" dirty="0">
                <a:solidFill>
                  <a:schemeClr val="tx1"/>
                </a:solidFill>
              </a:rPr>
              <a:t>&lt;git user&gt;/NorCPM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1B2FC148-5A57-BBBD-F056-EC86FCECDEB9}"/>
              </a:ext>
            </a:extLst>
          </p:cNvPr>
          <p:cNvSpPr/>
          <p:nvPr/>
        </p:nvSpPr>
        <p:spPr>
          <a:xfrm>
            <a:off x="5678362" y="4295893"/>
            <a:ext cx="4557452" cy="189507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dirty="0"/>
          </a:p>
          <a:p>
            <a:pPr algn="ctr"/>
            <a:endParaRPr lang="en-NO" dirty="0"/>
          </a:p>
          <a:p>
            <a:pPr algn="ctr"/>
            <a:endParaRPr lang="en-NO" dirty="0"/>
          </a:p>
          <a:p>
            <a:pPr algn="ctr"/>
            <a:endParaRPr lang="en-NO" dirty="0"/>
          </a:p>
          <a:p>
            <a:pPr algn="ctr"/>
            <a:r>
              <a:rPr lang="en-NO" sz="3000" dirty="0"/>
              <a:t>Betzy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B5968FB7-F54D-3D4E-0CD7-58C89F762708}"/>
              </a:ext>
            </a:extLst>
          </p:cNvPr>
          <p:cNvSpPr/>
          <p:nvPr/>
        </p:nvSpPr>
        <p:spPr>
          <a:xfrm>
            <a:off x="6718587" y="4696550"/>
            <a:ext cx="3362512" cy="81669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>
                <a:solidFill>
                  <a:schemeClr val="tx1"/>
                </a:solidFill>
              </a:rPr>
              <a:t>L</a:t>
            </a:r>
            <a:r>
              <a:rPr lang="en-NO" sz="2400" dirty="0">
                <a:solidFill>
                  <a:schemeClr val="tx1"/>
                </a:solidFill>
              </a:rPr>
              <a:t>ocal NorCPM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6094332-E5F9-69EA-73C7-4A33664C7232}"/>
              </a:ext>
            </a:extLst>
          </p:cNvPr>
          <p:cNvCxnSpPr>
            <a:cxnSpLocks/>
          </p:cNvCxnSpPr>
          <p:nvPr/>
        </p:nvCxnSpPr>
        <p:spPr>
          <a:xfrm>
            <a:off x="5396456" y="2095011"/>
            <a:ext cx="1319634" cy="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89F5CED-C3D4-AA76-F52B-1E5A9CC755F0}"/>
              </a:ext>
            </a:extLst>
          </p:cNvPr>
          <p:cNvCxnSpPr>
            <a:cxnSpLocks/>
          </p:cNvCxnSpPr>
          <p:nvPr/>
        </p:nvCxnSpPr>
        <p:spPr>
          <a:xfrm flipH="1">
            <a:off x="5396456" y="2397312"/>
            <a:ext cx="1307137" cy="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FBE64B4-6FC6-3245-6EC0-19E6386E7C6D}"/>
              </a:ext>
            </a:extLst>
          </p:cNvPr>
          <p:cNvCxnSpPr>
            <a:cxnSpLocks/>
          </p:cNvCxnSpPr>
          <p:nvPr/>
        </p:nvCxnSpPr>
        <p:spPr>
          <a:xfrm>
            <a:off x="8592216" y="2660323"/>
            <a:ext cx="0" cy="2062512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8B13E810-7E43-8525-48BE-2939A36965AB}"/>
              </a:ext>
            </a:extLst>
          </p:cNvPr>
          <p:cNvCxnSpPr>
            <a:cxnSpLocks/>
          </p:cNvCxnSpPr>
          <p:nvPr/>
        </p:nvCxnSpPr>
        <p:spPr>
          <a:xfrm flipV="1">
            <a:off x="8124669" y="2645333"/>
            <a:ext cx="0" cy="2051217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881E83D8-6F5D-5751-B08A-C33E8970D988}"/>
              </a:ext>
            </a:extLst>
          </p:cNvPr>
          <p:cNvSpPr txBox="1"/>
          <p:nvPr/>
        </p:nvSpPr>
        <p:spPr>
          <a:xfrm>
            <a:off x="5354116" y="1664124"/>
            <a:ext cx="140936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22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Fork/sync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32C810D-398B-165E-4696-A05166E7FC16}"/>
              </a:ext>
            </a:extLst>
          </p:cNvPr>
          <p:cNvSpPr txBox="1"/>
          <p:nvPr/>
        </p:nvSpPr>
        <p:spPr>
          <a:xfrm rot="5400000">
            <a:off x="8144984" y="3089322"/>
            <a:ext cx="143981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22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Clone/pul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1C9F933-58F0-9793-7B56-C65C4C9CDA5C}"/>
              </a:ext>
            </a:extLst>
          </p:cNvPr>
          <p:cNvSpPr txBox="1"/>
          <p:nvPr/>
        </p:nvSpPr>
        <p:spPr>
          <a:xfrm rot="16200000">
            <a:off x="7492534" y="3068744"/>
            <a:ext cx="82747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22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Push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3E029B0-1A21-6B88-52F7-74A37472E682}"/>
              </a:ext>
            </a:extLst>
          </p:cNvPr>
          <p:cNvSpPr txBox="1"/>
          <p:nvPr/>
        </p:nvSpPr>
        <p:spPr>
          <a:xfrm>
            <a:off x="5226056" y="2557583"/>
            <a:ext cx="167545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22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Pull reques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CC23160-CB8A-3FD0-482C-091EB3FEA302}"/>
              </a:ext>
            </a:extLst>
          </p:cNvPr>
          <p:cNvSpPr txBox="1"/>
          <p:nvPr/>
        </p:nvSpPr>
        <p:spPr>
          <a:xfrm>
            <a:off x="6964024" y="4291948"/>
            <a:ext cx="115768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22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Commit</a:t>
            </a:r>
          </a:p>
        </p:txBody>
      </p:sp>
    </p:spTree>
    <p:extLst>
      <p:ext uri="{BB962C8B-B14F-4D97-AF65-F5344CB8AC3E}">
        <p14:creationId xmlns:p14="http://schemas.microsoft.com/office/powerpoint/2010/main" val="1343414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diagram of a computer program&#10;&#10;Description automatically generated">
            <a:extLst>
              <a:ext uri="{FF2B5EF4-FFF2-40B4-BE49-F238E27FC236}">
                <a16:creationId xmlns:a16="http://schemas.microsoft.com/office/drawing/2014/main" id="{9D3DEF6D-661C-E25F-E0FA-801C1BEF57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1989" y="247738"/>
            <a:ext cx="2951125" cy="1745953"/>
          </a:xfrm>
          <a:prstGeom prst="rect">
            <a:avLst/>
          </a:prstGeom>
        </p:spPr>
      </p:pic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4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developing</a:t>
            </a:r>
            <a:r>
              <a:rPr lang="nb-NO" sz="2200" dirty="0"/>
              <a:t> </a:t>
            </a:r>
            <a:r>
              <a:rPr lang="nb-NO" sz="2200" dirty="0" err="1"/>
              <a:t>NorESMhub</a:t>
            </a:r>
            <a:r>
              <a:rPr lang="nb-NO" sz="2200" dirty="0"/>
              <a:t>/</a:t>
            </a:r>
            <a:r>
              <a:rPr lang="nb-NO" sz="2200" dirty="0" err="1"/>
              <a:t>NorCPM</a:t>
            </a:r>
            <a:endParaRPr lang="nb-NO" sz="2200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1: </a:t>
            </a:r>
            <a:r>
              <a:rPr lang="nb-NO" sz="2200" dirty="0" err="1">
                <a:solidFill>
                  <a:schemeClr val="tx1"/>
                </a:solidFill>
              </a:rPr>
              <a:t>create</a:t>
            </a:r>
            <a:r>
              <a:rPr lang="nb-NO" sz="2200" dirty="0">
                <a:solidFill>
                  <a:schemeClr val="tx1"/>
                </a:solidFill>
              </a:rPr>
              <a:t> fork </a:t>
            </a:r>
            <a:r>
              <a:rPr lang="nb-NO" sz="2200" dirty="0" err="1">
                <a:solidFill>
                  <a:schemeClr val="tx1"/>
                </a:solidFill>
              </a:rPr>
              <a:t>NorESMhub</a:t>
            </a:r>
            <a:r>
              <a:rPr lang="nb-NO" sz="2200" dirty="0">
                <a:solidFill>
                  <a:schemeClr val="tx1"/>
                </a:solidFill>
              </a:rPr>
              <a:t>/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in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personal </a:t>
            </a:r>
            <a:r>
              <a:rPr lang="nb-NO" sz="2200" dirty="0" err="1">
                <a:solidFill>
                  <a:schemeClr val="tx1"/>
                </a:solidFill>
              </a:rPr>
              <a:t>github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space</a:t>
            </a: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9604BB48-9E53-AA77-243B-D6B7145094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50627" y="1864145"/>
            <a:ext cx="8565160" cy="4618344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420EE547-425F-EB22-F37D-3B13004B3D2A}"/>
              </a:ext>
            </a:extLst>
          </p:cNvPr>
          <p:cNvSpPr/>
          <p:nvPr/>
        </p:nvSpPr>
        <p:spPr>
          <a:xfrm>
            <a:off x="7524536" y="2331754"/>
            <a:ext cx="1140259" cy="109724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F3435F3-A411-A231-F630-47E084605A03}"/>
              </a:ext>
            </a:extLst>
          </p:cNvPr>
          <p:cNvSpPr/>
          <p:nvPr/>
        </p:nvSpPr>
        <p:spPr>
          <a:xfrm>
            <a:off x="10358203" y="495949"/>
            <a:ext cx="134385" cy="10493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971059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diagram of a computer program&#10;&#10;Description automatically generated">
            <a:extLst>
              <a:ext uri="{FF2B5EF4-FFF2-40B4-BE49-F238E27FC236}">
                <a16:creationId xmlns:a16="http://schemas.microsoft.com/office/drawing/2014/main" id="{BF5104F4-F151-A901-E7CB-68B8757FA1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1989" y="247738"/>
            <a:ext cx="2951125" cy="1745953"/>
          </a:xfrm>
          <a:prstGeom prst="rect">
            <a:avLst/>
          </a:prstGeom>
        </p:spPr>
      </p:pic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5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developing</a:t>
            </a:r>
            <a:r>
              <a:rPr lang="nb-NO" sz="2200" dirty="0"/>
              <a:t> </a:t>
            </a:r>
            <a:r>
              <a:rPr lang="nb-NO" sz="2200" dirty="0" err="1"/>
              <a:t>NorESMhub</a:t>
            </a:r>
            <a:r>
              <a:rPr lang="nb-NO" sz="2200" dirty="0"/>
              <a:t>/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1389715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2: log </a:t>
            </a:r>
            <a:r>
              <a:rPr lang="nb-NO" sz="2200" dirty="0" err="1">
                <a:solidFill>
                  <a:schemeClr val="tx1"/>
                </a:solidFill>
              </a:rPr>
              <a:t>on</a:t>
            </a:r>
            <a:r>
              <a:rPr lang="nb-NO" sz="2200" dirty="0">
                <a:solidFill>
                  <a:schemeClr val="tx1"/>
                </a:solidFill>
              </a:rPr>
              <a:t> to Betzy and </a:t>
            </a:r>
            <a:r>
              <a:rPr lang="nb-NO" sz="2200" dirty="0" err="1">
                <a:solidFill>
                  <a:schemeClr val="tx1"/>
                </a:solidFill>
              </a:rPr>
              <a:t>clon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from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personal </a:t>
            </a:r>
            <a:r>
              <a:rPr lang="nb-NO" sz="2200" dirty="0" err="1">
                <a:solidFill>
                  <a:schemeClr val="tx1"/>
                </a:solidFill>
              </a:rPr>
              <a:t>github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space</a:t>
            </a: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174625" lvl="1" indent="0">
              <a:buNone/>
            </a:pPr>
            <a:r>
              <a:rPr lang="en-GB" sz="22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22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22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22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ssh://</a:t>
            </a:r>
            <a:r>
              <a:rPr lang="en-GB" sz="22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22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&lt;my </a:t>
            </a:r>
            <a:r>
              <a:rPr lang="en-GB" sz="22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hub</a:t>
            </a:r>
            <a:r>
              <a:rPr lang="en-GB" sz="22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user&gt;/</a:t>
            </a:r>
            <a:r>
              <a:rPr lang="en-GB" sz="22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.git</a:t>
            </a:r>
            <a:r>
              <a:rPr lang="en-GB" sz="22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2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endParaRPr lang="en-GB" sz="22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53A14CF-0721-839B-2260-D0584B0ED3DC}"/>
              </a:ext>
            </a:extLst>
          </p:cNvPr>
          <p:cNvSpPr txBox="1"/>
          <p:nvPr/>
        </p:nvSpPr>
        <p:spPr>
          <a:xfrm>
            <a:off x="1454049" y="4593245"/>
            <a:ext cx="8874175" cy="76944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NO" sz="2200" b="1" dirty="0"/>
              <a:t>IMPORTANT: </a:t>
            </a:r>
            <a:r>
              <a:rPr lang="en-NO" sz="2200" dirty="0"/>
              <a:t>Before using ”</a:t>
            </a:r>
            <a:r>
              <a:rPr lang="en-GB" sz="22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sh://</a:t>
            </a:r>
            <a:r>
              <a:rPr lang="en-GB" sz="2200" dirty="0" err="1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22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” form </a:t>
            </a:r>
            <a:r>
              <a:rPr lang="en-GB" sz="2200" dirty="0" err="1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Betzy</a:t>
            </a:r>
            <a:r>
              <a:rPr lang="en-GB" sz="22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, create a public ssh-key on </a:t>
            </a:r>
            <a:r>
              <a:rPr lang="en-GB" sz="2200" dirty="0" err="1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Betzy</a:t>
            </a:r>
            <a:r>
              <a:rPr lang="en-GB" sz="22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 and </a:t>
            </a:r>
            <a:r>
              <a:rPr lang="en-GB" sz="2200" dirty="0">
                <a:ea typeface="Menlo" panose="020B0609030804020204" pitchFamily="49" charset="0"/>
                <a:cs typeface="Menlo" panose="020B0609030804020204" pitchFamily="49" charset="0"/>
              </a:rPr>
              <a:t>upload the key to your </a:t>
            </a:r>
            <a:r>
              <a:rPr lang="en-GB" sz="2200" dirty="0" err="1">
                <a:ea typeface="Menlo" panose="020B0609030804020204" pitchFamily="49" charset="0"/>
                <a:cs typeface="Menlo" panose="020B0609030804020204" pitchFamily="49" charset="0"/>
              </a:rPr>
              <a:t>github</a:t>
            </a:r>
            <a:r>
              <a:rPr lang="en-GB" sz="2200" dirty="0">
                <a:ea typeface="Menlo" panose="020B0609030804020204" pitchFamily="49" charset="0"/>
                <a:cs typeface="Menlo" panose="020B0609030804020204" pitchFamily="49" charset="0"/>
              </a:rPr>
              <a:t> profile. </a:t>
            </a:r>
            <a:r>
              <a:rPr lang="en-GB" sz="22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endParaRPr lang="en-NO" sz="22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1F9E553-9F71-8C25-173D-A212DB664C78}"/>
              </a:ext>
            </a:extLst>
          </p:cNvPr>
          <p:cNvSpPr/>
          <p:nvPr/>
        </p:nvSpPr>
        <p:spPr>
          <a:xfrm>
            <a:off x="11230126" y="978129"/>
            <a:ext cx="134385" cy="10493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138478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6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developing</a:t>
            </a:r>
            <a:r>
              <a:rPr lang="nb-NO" sz="2200" dirty="0"/>
              <a:t> </a:t>
            </a:r>
            <a:r>
              <a:rPr lang="nb-NO" sz="2200" dirty="0" err="1"/>
              <a:t>NorESMhub</a:t>
            </a:r>
            <a:r>
              <a:rPr lang="nb-NO" sz="2200" dirty="0"/>
              <a:t>/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3: </a:t>
            </a:r>
            <a:r>
              <a:rPr lang="nb-NO" sz="2200" dirty="0" err="1">
                <a:solidFill>
                  <a:schemeClr val="tx1"/>
                </a:solidFill>
              </a:rPr>
              <a:t>apply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hanges</a:t>
            </a:r>
            <a:r>
              <a:rPr lang="nb-NO" sz="2200" dirty="0">
                <a:solidFill>
                  <a:schemeClr val="tx1"/>
                </a:solidFill>
              </a:rPr>
              <a:t> to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local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lon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on</a:t>
            </a:r>
            <a:r>
              <a:rPr lang="nb-NO" sz="2200" dirty="0">
                <a:solidFill>
                  <a:schemeClr val="tx1"/>
                </a:solidFill>
              </a:rPr>
              <a:t> Betzy 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pic>
        <p:nvPicPr>
          <p:cNvPr id="2" name="Picture 1" descr="A diagram of a computer program&#10;&#10;Description automatically generated">
            <a:extLst>
              <a:ext uri="{FF2B5EF4-FFF2-40B4-BE49-F238E27FC236}">
                <a16:creationId xmlns:a16="http://schemas.microsoft.com/office/drawing/2014/main" id="{21EA4697-4EFF-253F-FAAF-88592FA33E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1989" y="247738"/>
            <a:ext cx="2951125" cy="1745953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B6EE9C4D-D986-C496-AEA9-889E065E49CB}"/>
              </a:ext>
            </a:extLst>
          </p:cNvPr>
          <p:cNvSpPr/>
          <p:nvPr/>
        </p:nvSpPr>
        <p:spPr>
          <a:xfrm>
            <a:off x="11185159" y="1427832"/>
            <a:ext cx="134385" cy="10493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37055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diagram of a computer program&#10;&#10;Description automatically generated">
            <a:extLst>
              <a:ext uri="{FF2B5EF4-FFF2-40B4-BE49-F238E27FC236}">
                <a16:creationId xmlns:a16="http://schemas.microsoft.com/office/drawing/2014/main" id="{A0F4121E-C86F-2C3C-4E56-849F4F9E56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1989" y="247738"/>
            <a:ext cx="2951125" cy="1745953"/>
          </a:xfrm>
          <a:prstGeom prst="rect">
            <a:avLst/>
          </a:prstGeom>
        </p:spPr>
      </p:pic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7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developing</a:t>
            </a:r>
            <a:r>
              <a:rPr lang="nb-NO" sz="2200" dirty="0"/>
              <a:t> </a:t>
            </a:r>
            <a:r>
              <a:rPr lang="nb-NO" sz="2200" dirty="0" err="1"/>
              <a:t>NorESMhub</a:t>
            </a:r>
            <a:r>
              <a:rPr lang="nb-NO" sz="2200" dirty="0"/>
              <a:t>/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4: </a:t>
            </a:r>
            <a:r>
              <a:rPr lang="nb-NO" sz="2200" dirty="0" err="1">
                <a:solidFill>
                  <a:schemeClr val="tx1"/>
                </a:solidFill>
              </a:rPr>
              <a:t>synchroniz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fork </a:t>
            </a:r>
            <a:r>
              <a:rPr lang="nb-NO" sz="2200" dirty="0" err="1">
                <a:solidFill>
                  <a:schemeClr val="tx1"/>
                </a:solidFill>
              </a:rPr>
              <a:t>with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the</a:t>
            </a:r>
            <a:r>
              <a:rPr lang="nb-NO" sz="2200" dirty="0">
                <a:solidFill>
                  <a:schemeClr val="tx1"/>
                </a:solidFill>
              </a:rPr>
              <a:t> latest </a:t>
            </a:r>
            <a:r>
              <a:rPr lang="nb-NO" sz="2200" dirty="0" err="1">
                <a:solidFill>
                  <a:schemeClr val="tx1"/>
                </a:solidFill>
              </a:rPr>
              <a:t>NorESMhub</a:t>
            </a:r>
            <a:r>
              <a:rPr lang="nb-NO" sz="2200" dirty="0">
                <a:solidFill>
                  <a:schemeClr val="tx1"/>
                </a:solidFill>
              </a:rPr>
              <a:t>/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state</a:t>
            </a: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A820BFB9-D04E-7AA1-9F18-D0B745168F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68429" y="1843227"/>
            <a:ext cx="6814434" cy="4941945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D2012C9F-A1B1-89F9-6A2A-4F7A4852528A}"/>
              </a:ext>
            </a:extLst>
          </p:cNvPr>
          <p:cNvSpPr/>
          <p:nvPr/>
        </p:nvSpPr>
        <p:spPr>
          <a:xfrm>
            <a:off x="6889536" y="3339288"/>
            <a:ext cx="1140259" cy="109724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1072368-6709-25C4-4054-C0D9F371B850}"/>
              </a:ext>
            </a:extLst>
          </p:cNvPr>
          <p:cNvSpPr/>
          <p:nvPr/>
        </p:nvSpPr>
        <p:spPr>
          <a:xfrm>
            <a:off x="10480627" y="522169"/>
            <a:ext cx="134385" cy="10493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102893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8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developing</a:t>
            </a:r>
            <a:r>
              <a:rPr lang="nb-NO" sz="2200" dirty="0"/>
              <a:t> </a:t>
            </a:r>
            <a:r>
              <a:rPr lang="nb-NO" sz="2200" dirty="0" err="1"/>
              <a:t>NorESMhub</a:t>
            </a:r>
            <a:r>
              <a:rPr lang="nb-NO" sz="2200" dirty="0"/>
              <a:t>/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5: </a:t>
            </a:r>
            <a:r>
              <a:rPr lang="nb-NO" sz="2200" dirty="0" err="1">
                <a:solidFill>
                  <a:schemeClr val="tx1"/>
                </a:solidFill>
              </a:rPr>
              <a:t>synchroniz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local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lon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with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github</a:t>
            </a:r>
            <a:r>
              <a:rPr lang="nb-NO" sz="2200" dirty="0">
                <a:solidFill>
                  <a:schemeClr val="tx1"/>
                </a:solidFill>
              </a:rPr>
              <a:t> fork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901683-0A81-0261-E607-F04F13E2F1FC}"/>
              </a:ext>
            </a:extLst>
          </p:cNvPr>
          <p:cNvSpPr txBox="1"/>
          <p:nvPr/>
        </p:nvSpPr>
        <p:spPr>
          <a:xfrm>
            <a:off x="643462" y="2016668"/>
            <a:ext cx="6096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2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</a:t>
            </a:r>
            <a:r>
              <a:rPr lang="en-GB" sz="22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ll</a:t>
            </a:r>
            <a:r>
              <a:rPr lang="en-GB" sz="22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endParaRPr lang="en-NO" sz="2200" dirty="0"/>
          </a:p>
        </p:txBody>
      </p:sp>
      <p:pic>
        <p:nvPicPr>
          <p:cNvPr id="2" name="Picture 1" descr="A diagram of a computer program&#10;&#10;Description automatically generated">
            <a:extLst>
              <a:ext uri="{FF2B5EF4-FFF2-40B4-BE49-F238E27FC236}">
                <a16:creationId xmlns:a16="http://schemas.microsoft.com/office/drawing/2014/main" id="{157C428B-0CFC-8295-99EF-A9F5C21219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1989" y="247738"/>
            <a:ext cx="2951125" cy="1745953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BA89568C-DA07-C586-89B5-2F1DA8BBFB40}"/>
              </a:ext>
            </a:extLst>
          </p:cNvPr>
          <p:cNvSpPr/>
          <p:nvPr/>
        </p:nvSpPr>
        <p:spPr>
          <a:xfrm>
            <a:off x="11320069" y="1271673"/>
            <a:ext cx="134385" cy="10493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377969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9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developing</a:t>
            </a:r>
            <a:r>
              <a:rPr lang="nb-NO" sz="2200" dirty="0"/>
              <a:t> </a:t>
            </a:r>
            <a:r>
              <a:rPr lang="nb-NO" sz="2200" dirty="0" err="1"/>
              <a:t>NorESMhub</a:t>
            </a:r>
            <a:r>
              <a:rPr lang="nb-NO" sz="2200" dirty="0"/>
              <a:t>/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6: </a:t>
            </a:r>
            <a:r>
              <a:rPr lang="nb-NO" sz="2200" dirty="0" err="1">
                <a:solidFill>
                  <a:schemeClr val="tx1"/>
                </a:solidFill>
              </a:rPr>
              <a:t>commit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hanges</a:t>
            </a:r>
            <a:r>
              <a:rPr lang="nb-NO" sz="2200" dirty="0">
                <a:solidFill>
                  <a:schemeClr val="tx1"/>
                </a:solidFill>
              </a:rPr>
              <a:t> to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local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lone</a:t>
            </a: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901683-0A81-0261-E607-F04F13E2F1FC}"/>
              </a:ext>
            </a:extLst>
          </p:cNvPr>
          <p:cNvSpPr txBox="1"/>
          <p:nvPr/>
        </p:nvSpPr>
        <p:spPr>
          <a:xfrm>
            <a:off x="643462" y="2016668"/>
            <a:ext cx="6096000" cy="16619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2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add . </a:t>
            </a:r>
          </a:p>
          <a:p>
            <a:r>
              <a:rPr lang="en-GB" sz="22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</a:t>
            </a:r>
            <a:r>
              <a:rPr lang="en-GB" sz="22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t status</a:t>
            </a:r>
          </a:p>
          <a:p>
            <a:r>
              <a:rPr lang="en-GB" sz="22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ommit –m </a:t>
            </a:r>
            <a:r>
              <a:rPr lang="en-NO" sz="22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'my commit message'</a:t>
            </a:r>
          </a:p>
          <a:p>
            <a:endParaRPr lang="en-NO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endParaRPr lang="en-NO" dirty="0"/>
          </a:p>
        </p:txBody>
      </p:sp>
      <p:pic>
        <p:nvPicPr>
          <p:cNvPr id="2" name="Picture 1" descr="A diagram of a computer program&#10;&#10;Description automatically generated">
            <a:extLst>
              <a:ext uri="{FF2B5EF4-FFF2-40B4-BE49-F238E27FC236}">
                <a16:creationId xmlns:a16="http://schemas.microsoft.com/office/drawing/2014/main" id="{A4522ACB-DEB6-B48E-641A-D4B78817BF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1989" y="247738"/>
            <a:ext cx="2951125" cy="1745953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1D03DD2D-B3F4-6624-D628-005FFECD46FA}"/>
              </a:ext>
            </a:extLst>
          </p:cNvPr>
          <p:cNvSpPr/>
          <p:nvPr/>
        </p:nvSpPr>
        <p:spPr>
          <a:xfrm>
            <a:off x="11065239" y="1421573"/>
            <a:ext cx="134385" cy="10493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4181016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3384017" cy="512457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2000" dirty="0">
                <a:solidFill>
                  <a:schemeClr val="tx1"/>
                </a:solidFill>
              </a:rPr>
              <a:t>Offline (NorESM1,NorESM2) </a:t>
            </a:r>
            <a:br>
              <a:rPr lang="nb-NO" sz="2000" dirty="0">
                <a:solidFill>
                  <a:schemeClr val="tx1"/>
                </a:solidFill>
              </a:rPr>
            </a:br>
            <a:endParaRPr lang="nb-NO" sz="10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Stop &amp; </a:t>
            </a:r>
            <a:r>
              <a:rPr lang="nb-NO" sz="1800" i="1" dirty="0" err="1">
                <a:solidFill>
                  <a:schemeClr val="tx1"/>
                </a:solidFill>
              </a:rPr>
              <a:t>restart</a:t>
            </a:r>
            <a:r>
              <a:rPr lang="nb-NO" sz="1800" i="1" dirty="0">
                <a:solidFill>
                  <a:schemeClr val="tx1"/>
                </a:solidFill>
              </a:rPr>
              <a:t>               </a:t>
            </a:r>
            <a:r>
              <a:rPr lang="nb-NO" sz="1800" dirty="0" err="1">
                <a:solidFill>
                  <a:schemeClr val="tx1"/>
                </a:solidFill>
              </a:rPr>
              <a:t>NorESM</a:t>
            </a:r>
            <a:r>
              <a:rPr lang="nb-NO" sz="1800" dirty="0">
                <a:solidFill>
                  <a:schemeClr val="tx1"/>
                </a:solidFill>
              </a:rPr>
              <a:t> and DA </a:t>
            </a:r>
            <a:r>
              <a:rPr lang="nb-NO" sz="1800" dirty="0" err="1">
                <a:solidFill>
                  <a:schemeClr val="tx1"/>
                </a:solidFill>
              </a:rPr>
              <a:t>seperate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executables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running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sequent</a:t>
            </a:r>
            <a:r>
              <a:rPr lang="nb-NO" sz="1800" dirty="0">
                <a:solidFill>
                  <a:schemeClr val="tx1"/>
                </a:solidFill>
              </a:rPr>
              <a:t>. 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5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Disk-</a:t>
            </a:r>
            <a:r>
              <a:rPr lang="nb-NO" sz="1800" i="1" dirty="0" err="1">
                <a:solidFill>
                  <a:schemeClr val="tx1"/>
                </a:solidFill>
              </a:rPr>
              <a:t>based</a:t>
            </a:r>
            <a:r>
              <a:rPr lang="nb-NO" sz="1800" i="1" dirty="0">
                <a:solidFill>
                  <a:schemeClr val="tx1"/>
                </a:solidFill>
              </a:rPr>
              <a:t> </a:t>
            </a:r>
            <a:r>
              <a:rPr lang="nb-NO" sz="1800" i="1" dirty="0" err="1">
                <a:solidFill>
                  <a:schemeClr val="tx1"/>
                </a:solidFill>
              </a:rPr>
              <a:t>communication</a:t>
            </a:r>
            <a:r>
              <a:rPr lang="nb-NO" sz="1800" i="1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between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model</a:t>
            </a:r>
            <a:r>
              <a:rPr lang="nb-NO" sz="1800" dirty="0">
                <a:solidFill>
                  <a:schemeClr val="tx1"/>
                </a:solidFill>
              </a:rPr>
              <a:t> and DA via </a:t>
            </a:r>
            <a:r>
              <a:rPr lang="nb-NO" sz="1800" dirty="0" err="1">
                <a:solidFill>
                  <a:schemeClr val="tx1"/>
                </a:solidFill>
              </a:rPr>
              <a:t>modifying</a:t>
            </a:r>
            <a:r>
              <a:rPr lang="nb-NO" sz="1800" dirty="0">
                <a:solidFill>
                  <a:schemeClr val="tx1"/>
                </a:solidFill>
              </a:rPr>
              <a:t> full </a:t>
            </a:r>
            <a:r>
              <a:rPr lang="nb-NO" sz="1800" dirty="0" err="1">
                <a:solidFill>
                  <a:schemeClr val="tx1"/>
                </a:solidFill>
              </a:rPr>
              <a:t>restart</a:t>
            </a:r>
            <a:r>
              <a:rPr lang="nb-NO" sz="1800" dirty="0">
                <a:solidFill>
                  <a:schemeClr val="tx1"/>
                </a:solidFill>
              </a:rPr>
              <a:t> files</a:t>
            </a:r>
          </a:p>
          <a:p>
            <a:pPr marL="0" indent="0">
              <a:buNone/>
            </a:pPr>
            <a:endParaRPr lang="nb-NO" sz="5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Components: ocn</a:t>
            </a:r>
            <a:r>
              <a:rPr lang="nb-NO" sz="1800" i="1" baseline="30000" dirty="0">
                <a:solidFill>
                  <a:schemeClr val="tx1"/>
                </a:solidFill>
              </a:rPr>
              <a:t>12</a:t>
            </a:r>
            <a:r>
              <a:rPr lang="nb-NO" sz="1800" i="1" dirty="0">
                <a:solidFill>
                  <a:schemeClr val="tx1"/>
                </a:solidFill>
              </a:rPr>
              <a:t>, ice</a:t>
            </a:r>
            <a:r>
              <a:rPr lang="nb-NO" sz="1800" i="1" baseline="30000" dirty="0">
                <a:solidFill>
                  <a:schemeClr val="tx1"/>
                </a:solidFill>
              </a:rPr>
              <a:t>1 </a:t>
            </a:r>
            <a:r>
              <a:rPr lang="nb-NO" sz="1800" i="1" dirty="0">
                <a:solidFill>
                  <a:schemeClr val="tx1"/>
                </a:solidFill>
              </a:rPr>
              <a:t>,lnd</a:t>
            </a:r>
            <a:r>
              <a:rPr lang="nb-NO" sz="1800" i="1" baseline="30000" dirty="0">
                <a:solidFill>
                  <a:schemeClr val="tx1"/>
                </a:solidFill>
              </a:rPr>
              <a:t>1</a:t>
            </a:r>
            <a:r>
              <a:rPr lang="nb-NO" sz="1800" i="1" dirty="0">
                <a:solidFill>
                  <a:schemeClr val="tx1"/>
                </a:solidFill>
              </a:rPr>
              <a:t> 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500" i="1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DA </a:t>
            </a:r>
            <a:r>
              <a:rPr lang="nb-NO" sz="1800" i="1" dirty="0" err="1">
                <a:solidFill>
                  <a:schemeClr val="tx1"/>
                </a:solidFill>
              </a:rPr>
              <a:t>freq</a:t>
            </a:r>
            <a:r>
              <a:rPr lang="nb-NO" sz="1800" i="1" dirty="0">
                <a:solidFill>
                  <a:schemeClr val="tx1"/>
                </a:solidFill>
              </a:rPr>
              <a:t>.: </a:t>
            </a:r>
            <a:r>
              <a:rPr lang="nb-NO" sz="1800" dirty="0" err="1">
                <a:solidFill>
                  <a:schemeClr val="tx1"/>
                </a:solidFill>
              </a:rPr>
              <a:t>monthly</a:t>
            </a:r>
            <a:r>
              <a:rPr lang="nb-NO" sz="1800" dirty="0">
                <a:solidFill>
                  <a:schemeClr val="tx1"/>
                </a:solidFill>
              </a:rPr>
              <a:t> (</a:t>
            </a:r>
            <a:r>
              <a:rPr lang="nb-NO" sz="1800" dirty="0" err="1">
                <a:solidFill>
                  <a:schemeClr val="tx1"/>
                </a:solidFill>
              </a:rPr>
              <a:t>slow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model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init</a:t>
            </a:r>
            <a:r>
              <a:rPr lang="nb-NO" sz="1800" dirty="0">
                <a:solidFill>
                  <a:schemeClr val="tx1"/>
                </a:solidFill>
              </a:rPr>
              <a:t>. &amp; </a:t>
            </a:r>
            <a:r>
              <a:rPr lang="nb-NO" sz="1800" dirty="0" err="1">
                <a:solidFill>
                  <a:schemeClr val="tx1"/>
                </a:solidFill>
              </a:rPr>
              <a:t>read</a:t>
            </a:r>
            <a:r>
              <a:rPr lang="nb-NO" sz="1800" dirty="0">
                <a:solidFill>
                  <a:schemeClr val="tx1"/>
                </a:solidFill>
              </a:rPr>
              <a:t>/</a:t>
            </a:r>
            <a:r>
              <a:rPr lang="nb-NO" sz="1800" dirty="0" err="1">
                <a:solidFill>
                  <a:schemeClr val="tx1"/>
                </a:solidFill>
              </a:rPr>
              <a:t>write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of</a:t>
            </a:r>
            <a:r>
              <a:rPr lang="nb-NO" sz="1800" dirty="0">
                <a:solidFill>
                  <a:schemeClr val="tx1"/>
                </a:solidFill>
              </a:rPr>
              <a:t> full </a:t>
            </a:r>
            <a:r>
              <a:rPr lang="nb-NO" sz="1800" dirty="0" err="1">
                <a:solidFill>
                  <a:schemeClr val="tx1"/>
                </a:solidFill>
              </a:rPr>
              <a:t>restarts</a:t>
            </a:r>
            <a:r>
              <a:rPr lang="nb-NO" sz="1800" dirty="0">
                <a:solidFill>
                  <a:schemeClr val="tx1"/>
                </a:solidFill>
              </a:rPr>
              <a:t>)</a:t>
            </a:r>
          </a:p>
          <a:p>
            <a:pPr marL="0" indent="0">
              <a:buNone/>
            </a:pPr>
            <a:endParaRPr lang="nb-NO" sz="18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NO" sz="2200" dirty="0"/>
              <a:t>DA implementations for NorCP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</a:t>
            </a:fld>
            <a:endParaRPr lang="nb-NO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65A12A4-43BC-42B1-1A0E-56D7609F4C92}"/>
              </a:ext>
            </a:extLst>
          </p:cNvPr>
          <p:cNvSpPr txBox="1">
            <a:spLocks/>
          </p:cNvSpPr>
          <p:nvPr/>
        </p:nvSpPr>
        <p:spPr>
          <a:xfrm>
            <a:off x="8268034" y="1234799"/>
            <a:ext cx="3471095" cy="470880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rgbClr val="828990"/>
              </a:buClr>
              <a:buFont typeface="Arial" pitchFamily="34" charset="0"/>
              <a:buChar char="›"/>
              <a:defRPr sz="16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1pPr>
            <a:lvl2pPr marL="355600" indent="-174625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2pPr>
            <a:lvl3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12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0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4pPr>
            <a:lvl5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8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nb-NO" sz="2000" dirty="0">
                <a:solidFill>
                  <a:schemeClr val="tx1"/>
                </a:solidFill>
              </a:rPr>
              <a:t>Online (NorESM2/2.5/3) </a:t>
            </a:r>
            <a:br>
              <a:rPr lang="nb-NO" sz="2000" dirty="0">
                <a:solidFill>
                  <a:schemeClr val="tx1"/>
                </a:solidFill>
              </a:rPr>
            </a:br>
            <a:endParaRPr lang="nb-NO" sz="10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Pause &amp; </a:t>
            </a:r>
            <a:r>
              <a:rPr lang="nb-NO" sz="1800" i="1" dirty="0" err="1">
                <a:solidFill>
                  <a:schemeClr val="tx1"/>
                </a:solidFill>
              </a:rPr>
              <a:t>resume</a:t>
            </a:r>
            <a:r>
              <a:rPr lang="nb-NO" sz="1800" i="1" dirty="0">
                <a:solidFill>
                  <a:schemeClr val="tx1"/>
                </a:solidFill>
              </a:rPr>
              <a:t> (NCAR)           </a:t>
            </a:r>
            <a:r>
              <a:rPr lang="nb-NO" sz="1800" dirty="0">
                <a:solidFill>
                  <a:schemeClr val="tx1"/>
                </a:solidFill>
              </a:rPr>
              <a:t>DA </a:t>
            </a:r>
            <a:r>
              <a:rPr lang="nb-NO" sz="1800" dirty="0" err="1">
                <a:solidFill>
                  <a:schemeClr val="tx1"/>
                </a:solidFill>
              </a:rPr>
              <a:t>fully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integrated</a:t>
            </a:r>
            <a:r>
              <a:rPr lang="nb-NO" sz="1800" dirty="0">
                <a:solidFill>
                  <a:schemeClr val="tx1"/>
                </a:solidFill>
              </a:rPr>
              <a:t> part </a:t>
            </a:r>
            <a:r>
              <a:rPr lang="nb-NO" sz="1800" dirty="0" err="1">
                <a:solidFill>
                  <a:schemeClr val="tx1"/>
                </a:solidFill>
              </a:rPr>
              <a:t>of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NorESM</a:t>
            </a:r>
            <a:r>
              <a:rPr lang="nb-NO" sz="1800" dirty="0">
                <a:solidFill>
                  <a:schemeClr val="tx1"/>
                </a:solidFill>
              </a:rPr>
              <a:t> and runs in same </a:t>
            </a:r>
            <a:r>
              <a:rPr lang="nb-NO" sz="1800" dirty="0" err="1">
                <a:solidFill>
                  <a:schemeClr val="tx1"/>
                </a:solidFill>
              </a:rPr>
              <a:t>job</a:t>
            </a:r>
            <a:endParaRPr lang="nb-NO" sz="18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5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MPI-</a:t>
            </a:r>
            <a:r>
              <a:rPr lang="nb-NO" sz="1800" i="1" dirty="0" err="1">
                <a:solidFill>
                  <a:schemeClr val="tx1"/>
                </a:solidFill>
              </a:rPr>
              <a:t>based</a:t>
            </a:r>
            <a:r>
              <a:rPr lang="nb-NO" sz="1800" i="1" dirty="0">
                <a:solidFill>
                  <a:schemeClr val="tx1"/>
                </a:solidFill>
              </a:rPr>
              <a:t> </a:t>
            </a:r>
            <a:r>
              <a:rPr lang="nb-NO" sz="1800" i="1" dirty="0" err="1">
                <a:solidFill>
                  <a:schemeClr val="tx1"/>
                </a:solidFill>
              </a:rPr>
              <a:t>communication</a:t>
            </a:r>
            <a:r>
              <a:rPr lang="nb-NO" sz="1800" i="1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between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model</a:t>
            </a:r>
            <a:r>
              <a:rPr lang="nb-NO" sz="1800" dirty="0">
                <a:solidFill>
                  <a:schemeClr val="tx1"/>
                </a:solidFill>
              </a:rPr>
              <a:t> and DA</a:t>
            </a:r>
          </a:p>
          <a:p>
            <a:pPr marL="0" indent="0">
              <a:buNone/>
            </a:pPr>
            <a:endParaRPr lang="nb-NO" sz="18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3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Components: </a:t>
            </a:r>
            <a:r>
              <a:rPr lang="nb-NO" sz="1800" i="1" dirty="0" err="1">
                <a:solidFill>
                  <a:schemeClr val="tx1"/>
                </a:solidFill>
              </a:rPr>
              <a:t>ocn</a:t>
            </a:r>
            <a:r>
              <a:rPr lang="nb-NO" sz="1800" i="1" dirty="0">
                <a:solidFill>
                  <a:schemeClr val="tx1"/>
                </a:solidFill>
              </a:rPr>
              <a:t>, </a:t>
            </a:r>
            <a:r>
              <a:rPr lang="nb-NO" sz="1800" i="1" dirty="0" err="1">
                <a:solidFill>
                  <a:schemeClr val="tx1"/>
                </a:solidFill>
              </a:rPr>
              <a:t>lnd</a:t>
            </a:r>
            <a:r>
              <a:rPr lang="nb-NO" sz="1800" i="1" dirty="0">
                <a:solidFill>
                  <a:schemeClr val="tx1"/>
                </a:solidFill>
              </a:rPr>
              <a:t>, </a:t>
            </a:r>
            <a:r>
              <a:rPr lang="nb-NO" sz="1800" i="1" dirty="0" err="1">
                <a:solidFill>
                  <a:schemeClr val="tx1"/>
                </a:solidFill>
              </a:rPr>
              <a:t>ice</a:t>
            </a:r>
            <a:r>
              <a:rPr lang="nb-NO" sz="1800" i="1" dirty="0">
                <a:solidFill>
                  <a:schemeClr val="tx1"/>
                </a:solidFill>
              </a:rPr>
              <a:t>, </a:t>
            </a:r>
            <a:r>
              <a:rPr lang="nb-NO" sz="1800" i="1" dirty="0" err="1">
                <a:solidFill>
                  <a:schemeClr val="tx1"/>
                </a:solidFill>
              </a:rPr>
              <a:t>atm</a:t>
            </a:r>
            <a:endParaRPr lang="nb-NO" sz="1800" i="1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endParaRPr lang="nb-NO" sz="500" i="1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DA </a:t>
            </a:r>
            <a:r>
              <a:rPr lang="nb-NO" sz="1800" i="1" dirty="0" err="1">
                <a:solidFill>
                  <a:schemeClr val="tx1"/>
                </a:solidFill>
              </a:rPr>
              <a:t>freq</a:t>
            </a:r>
            <a:r>
              <a:rPr lang="nb-NO" sz="1800" i="1" dirty="0">
                <a:solidFill>
                  <a:schemeClr val="tx1"/>
                </a:solidFill>
              </a:rPr>
              <a:t>.: </a:t>
            </a:r>
            <a:r>
              <a:rPr lang="nb-NO" sz="1800" dirty="0">
                <a:solidFill>
                  <a:schemeClr val="tx1"/>
                </a:solidFill>
              </a:rPr>
              <a:t>(sub-)</a:t>
            </a:r>
            <a:r>
              <a:rPr lang="nb-NO" sz="1800" dirty="0" err="1">
                <a:solidFill>
                  <a:schemeClr val="tx1"/>
                </a:solidFill>
              </a:rPr>
              <a:t>daily</a:t>
            </a:r>
            <a:r>
              <a:rPr lang="nb-NO" sz="1800" dirty="0">
                <a:solidFill>
                  <a:schemeClr val="tx1"/>
                </a:solidFill>
              </a:rPr>
              <a:t>, </a:t>
            </a:r>
            <a:r>
              <a:rPr lang="nb-NO" sz="1800" dirty="0" err="1">
                <a:solidFill>
                  <a:schemeClr val="tx1"/>
                </a:solidFill>
              </a:rPr>
              <a:t>monthly</a:t>
            </a:r>
            <a:endParaRPr lang="nb-NO" sz="1800" dirty="0">
              <a:solidFill>
                <a:schemeClr val="tx1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EABDAE6-55C0-F543-C46A-3FA44E17D8E2}"/>
              </a:ext>
            </a:extLst>
          </p:cNvPr>
          <p:cNvSpPr txBox="1">
            <a:spLocks/>
          </p:cNvSpPr>
          <p:nvPr/>
        </p:nvSpPr>
        <p:spPr>
          <a:xfrm>
            <a:off x="4416957" y="1234799"/>
            <a:ext cx="3384017" cy="4708801"/>
          </a:xfrm>
          <a:prstGeom prst="rect">
            <a:avLst/>
          </a:prstGeom>
          <a:effectLst>
            <a:glow rad="148600">
              <a:srgbClr val="FFC000">
                <a:alpha val="40000"/>
              </a:srgbClr>
            </a:glow>
          </a:effectLst>
        </p:spPr>
        <p:txBody>
          <a:bodyPr vert="horz" lIns="0" tIns="0" rIns="0" bIns="0" rtlCol="0">
            <a:norm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rgbClr val="828990"/>
              </a:buClr>
              <a:buFont typeface="Arial" pitchFamily="34" charset="0"/>
              <a:buChar char="›"/>
              <a:defRPr sz="16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1pPr>
            <a:lvl2pPr marL="355600" indent="-174625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2pPr>
            <a:lvl3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12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0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4pPr>
            <a:lvl5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8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nb-NO" sz="2000" dirty="0" err="1">
                <a:solidFill>
                  <a:schemeClr val="tx1"/>
                </a:solidFill>
              </a:rPr>
              <a:t>Semi</a:t>
            </a:r>
            <a:r>
              <a:rPr lang="nb-NO" sz="2000" dirty="0">
                <a:solidFill>
                  <a:schemeClr val="tx1"/>
                </a:solidFill>
              </a:rPr>
              <a:t>-online (NorESM2) </a:t>
            </a:r>
            <a:br>
              <a:rPr lang="nb-NO" sz="2000" dirty="0">
                <a:solidFill>
                  <a:schemeClr val="tx1"/>
                </a:solidFill>
              </a:rPr>
            </a:br>
            <a:endParaRPr lang="nb-NO" sz="10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Pause &amp; </a:t>
            </a:r>
            <a:r>
              <a:rPr lang="nb-NO" sz="1800" i="1" dirty="0" err="1">
                <a:solidFill>
                  <a:schemeClr val="tx1"/>
                </a:solidFill>
              </a:rPr>
              <a:t>resume</a:t>
            </a:r>
            <a:r>
              <a:rPr lang="nb-NO" sz="1800" i="1" dirty="0">
                <a:solidFill>
                  <a:schemeClr val="tx1"/>
                </a:solidFill>
              </a:rPr>
              <a:t> (hack)               </a:t>
            </a:r>
            <a:r>
              <a:rPr lang="nb-NO" sz="1800" dirty="0" err="1">
                <a:solidFill>
                  <a:schemeClr val="tx1"/>
                </a:solidFill>
              </a:rPr>
              <a:t>NorESM</a:t>
            </a:r>
            <a:r>
              <a:rPr lang="nb-NO" sz="1800" dirty="0">
                <a:solidFill>
                  <a:schemeClr val="tx1"/>
                </a:solidFill>
              </a:rPr>
              <a:t> and DA separate </a:t>
            </a:r>
            <a:r>
              <a:rPr lang="nb-NO" sz="1800" dirty="0" err="1">
                <a:solidFill>
                  <a:schemeClr val="tx1"/>
                </a:solidFill>
              </a:rPr>
              <a:t>executables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running</a:t>
            </a:r>
            <a:r>
              <a:rPr lang="nb-NO" sz="1800" dirty="0">
                <a:solidFill>
                  <a:schemeClr val="tx1"/>
                </a:solidFill>
              </a:rPr>
              <a:t> in </a:t>
            </a:r>
            <a:r>
              <a:rPr lang="nb-NO" sz="1800" dirty="0" err="1">
                <a:solidFill>
                  <a:schemeClr val="tx1"/>
                </a:solidFill>
              </a:rPr>
              <a:t>parallel</a:t>
            </a:r>
            <a:endParaRPr lang="nb-NO" sz="18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endParaRPr lang="nb-NO" sz="5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Disk-</a:t>
            </a:r>
            <a:r>
              <a:rPr lang="nb-NO" sz="1800" i="1" dirty="0" err="1">
                <a:solidFill>
                  <a:schemeClr val="tx1"/>
                </a:solidFill>
              </a:rPr>
              <a:t>based</a:t>
            </a:r>
            <a:r>
              <a:rPr lang="nb-NO" sz="1800" i="1" dirty="0">
                <a:solidFill>
                  <a:schemeClr val="tx1"/>
                </a:solidFill>
              </a:rPr>
              <a:t> </a:t>
            </a:r>
            <a:r>
              <a:rPr lang="nb-NO" sz="1800" i="1" dirty="0" err="1">
                <a:solidFill>
                  <a:schemeClr val="tx1"/>
                </a:solidFill>
              </a:rPr>
              <a:t>communication</a:t>
            </a:r>
            <a:r>
              <a:rPr lang="nb-NO" sz="1800" i="1" dirty="0">
                <a:solidFill>
                  <a:schemeClr val="tx1"/>
                </a:solidFill>
              </a:rPr>
              <a:t> </a:t>
            </a:r>
            <a:r>
              <a:rPr lang="nb-NO" sz="1800" dirty="0">
                <a:solidFill>
                  <a:schemeClr val="tx1"/>
                </a:solidFill>
              </a:rPr>
              <a:t>via </a:t>
            </a:r>
            <a:r>
              <a:rPr lang="nb-NO" sz="1800" dirty="0" err="1">
                <a:solidFill>
                  <a:schemeClr val="tx1"/>
                </a:solidFill>
              </a:rPr>
              <a:t>reading</a:t>
            </a:r>
            <a:r>
              <a:rPr lang="nb-NO" sz="1800" dirty="0">
                <a:solidFill>
                  <a:schemeClr val="tx1"/>
                </a:solidFill>
              </a:rPr>
              <a:t>/</a:t>
            </a:r>
            <a:r>
              <a:rPr lang="nb-NO" sz="1800" dirty="0" err="1">
                <a:solidFill>
                  <a:schemeClr val="tx1"/>
                </a:solidFill>
              </a:rPr>
              <a:t>writing</a:t>
            </a:r>
            <a:r>
              <a:rPr lang="nb-NO" sz="1800" dirty="0">
                <a:solidFill>
                  <a:schemeClr val="tx1"/>
                </a:solidFill>
              </a:rPr>
              <a:t> «</a:t>
            </a:r>
            <a:r>
              <a:rPr lang="nb-NO" sz="1800" dirty="0" err="1">
                <a:solidFill>
                  <a:schemeClr val="tx1"/>
                </a:solidFill>
              </a:rPr>
              <a:t>reduced</a:t>
            </a:r>
            <a:r>
              <a:rPr lang="nb-NO" sz="1800" dirty="0">
                <a:solidFill>
                  <a:schemeClr val="tx1"/>
                </a:solidFill>
              </a:rPr>
              <a:t>» </a:t>
            </a:r>
            <a:r>
              <a:rPr lang="nb-NO" sz="1800" dirty="0" err="1">
                <a:solidFill>
                  <a:schemeClr val="tx1"/>
                </a:solidFill>
              </a:rPr>
              <a:t>restart</a:t>
            </a:r>
            <a:r>
              <a:rPr lang="nb-NO" sz="1800" dirty="0">
                <a:solidFill>
                  <a:schemeClr val="tx1"/>
                </a:solidFill>
              </a:rPr>
              <a:t> files</a:t>
            </a:r>
          </a:p>
          <a:p>
            <a:pPr>
              <a:buFont typeface="Arial" pitchFamily="34" charset="0"/>
              <a:buChar char="•"/>
            </a:pPr>
            <a:endParaRPr lang="nb-NO" sz="5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Components: </a:t>
            </a:r>
            <a:r>
              <a:rPr lang="nb-NO" sz="1800" i="1" dirty="0" err="1">
                <a:solidFill>
                  <a:schemeClr val="tx1"/>
                </a:solidFill>
              </a:rPr>
              <a:t>ocn</a:t>
            </a:r>
            <a:r>
              <a:rPr lang="nb-NO" sz="1800" i="1" dirty="0">
                <a:solidFill>
                  <a:schemeClr val="tx1"/>
                </a:solidFill>
              </a:rPr>
              <a:t>, </a:t>
            </a:r>
            <a:r>
              <a:rPr lang="nb-NO" sz="1800" i="1" dirty="0" err="1">
                <a:solidFill>
                  <a:schemeClr val="tx1"/>
                </a:solidFill>
              </a:rPr>
              <a:t>lnd</a:t>
            </a:r>
            <a:r>
              <a:rPr lang="nb-NO" sz="1800" i="1" dirty="0">
                <a:solidFill>
                  <a:schemeClr val="tx1"/>
                </a:solidFill>
              </a:rPr>
              <a:t>,(</a:t>
            </a:r>
            <a:r>
              <a:rPr lang="nb-NO" sz="1800" i="1" dirty="0" err="1">
                <a:solidFill>
                  <a:schemeClr val="tx1"/>
                </a:solidFill>
              </a:rPr>
              <a:t>ice,atm</a:t>
            </a:r>
            <a:r>
              <a:rPr lang="nb-NO" sz="1800" i="1" dirty="0">
                <a:solidFill>
                  <a:schemeClr val="tx1"/>
                </a:solidFill>
              </a:rPr>
              <a:t>)</a:t>
            </a:r>
          </a:p>
          <a:p>
            <a:pPr marL="0" indent="0">
              <a:buNone/>
            </a:pPr>
            <a:endParaRPr lang="nb-NO" sz="500" i="1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DA </a:t>
            </a:r>
            <a:r>
              <a:rPr lang="nb-NO" sz="1800" i="1" dirty="0" err="1">
                <a:solidFill>
                  <a:schemeClr val="tx1"/>
                </a:solidFill>
              </a:rPr>
              <a:t>freq</a:t>
            </a:r>
            <a:r>
              <a:rPr lang="nb-NO" sz="1800" i="1" dirty="0">
                <a:solidFill>
                  <a:schemeClr val="tx1"/>
                </a:solidFill>
              </a:rPr>
              <a:t>.: </a:t>
            </a:r>
            <a:r>
              <a:rPr lang="nb-NO" sz="1800" dirty="0">
                <a:solidFill>
                  <a:schemeClr val="tx1"/>
                </a:solidFill>
              </a:rPr>
              <a:t>(sub-)</a:t>
            </a:r>
            <a:r>
              <a:rPr lang="nb-NO" sz="1800" dirty="0" err="1">
                <a:solidFill>
                  <a:schemeClr val="tx1"/>
                </a:solidFill>
              </a:rPr>
              <a:t>daily</a:t>
            </a:r>
            <a:r>
              <a:rPr lang="nb-NO" sz="1800" dirty="0">
                <a:solidFill>
                  <a:schemeClr val="tx1"/>
                </a:solidFill>
              </a:rPr>
              <a:t>, </a:t>
            </a:r>
            <a:r>
              <a:rPr lang="nb-NO" sz="1800" dirty="0" err="1">
                <a:solidFill>
                  <a:schemeClr val="tx1"/>
                </a:solidFill>
              </a:rPr>
              <a:t>monthly</a:t>
            </a:r>
            <a:endParaRPr lang="nb-NO" sz="18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endParaRPr lang="nb-NO" sz="18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endParaRPr lang="nb-NO" sz="18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1800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CC911C-A106-24AB-014E-7F7EBFD62159}"/>
              </a:ext>
            </a:extLst>
          </p:cNvPr>
          <p:cNvSpPr/>
          <p:nvPr/>
        </p:nvSpPr>
        <p:spPr>
          <a:xfrm>
            <a:off x="339864" y="1165254"/>
            <a:ext cx="3673785" cy="5124579"/>
          </a:xfrm>
          <a:prstGeom prst="rect">
            <a:avLst/>
          </a:prstGeom>
          <a:noFill/>
          <a:ln w="12700" cap="rnd"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3905026"/>
                      <a:gd name="connsiteY0" fmla="*/ 0 h 4862351"/>
                      <a:gd name="connsiteX1" fmla="*/ 3905026 w 3905026"/>
                      <a:gd name="connsiteY1" fmla="*/ 0 h 4862351"/>
                      <a:gd name="connsiteX2" fmla="*/ 3905026 w 3905026"/>
                      <a:gd name="connsiteY2" fmla="*/ 4862351 h 4862351"/>
                      <a:gd name="connsiteX3" fmla="*/ 0 w 3905026"/>
                      <a:gd name="connsiteY3" fmla="*/ 4862351 h 4862351"/>
                      <a:gd name="connsiteX4" fmla="*/ 0 w 3905026"/>
                      <a:gd name="connsiteY4" fmla="*/ 0 h 48623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05026" h="4862351" extrusionOk="0">
                        <a:moveTo>
                          <a:pt x="0" y="0"/>
                        </a:moveTo>
                        <a:cubicBezTo>
                          <a:pt x="1697991" y="118645"/>
                          <a:pt x="3158916" y="116012"/>
                          <a:pt x="3905026" y="0"/>
                        </a:cubicBezTo>
                        <a:cubicBezTo>
                          <a:pt x="3772144" y="845083"/>
                          <a:pt x="3989977" y="3866116"/>
                          <a:pt x="3905026" y="4862351"/>
                        </a:cubicBezTo>
                        <a:cubicBezTo>
                          <a:pt x="3407221" y="4996951"/>
                          <a:pt x="1242864" y="4705155"/>
                          <a:pt x="0" y="4862351"/>
                        </a:cubicBezTo>
                        <a:cubicBezTo>
                          <a:pt x="-20187" y="4059868"/>
                          <a:pt x="-152480" y="599154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B44C8E9-16EA-76B3-9176-861EF36F8E52}"/>
              </a:ext>
            </a:extLst>
          </p:cNvPr>
          <p:cNvSpPr/>
          <p:nvPr/>
        </p:nvSpPr>
        <p:spPr>
          <a:xfrm>
            <a:off x="4175741" y="1168780"/>
            <a:ext cx="3673785" cy="5124579"/>
          </a:xfrm>
          <a:prstGeom prst="rect">
            <a:avLst/>
          </a:prstGeom>
          <a:noFill/>
          <a:ln w="12700" cap="rnd"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3905026"/>
                      <a:gd name="connsiteY0" fmla="*/ 0 h 4862351"/>
                      <a:gd name="connsiteX1" fmla="*/ 3905026 w 3905026"/>
                      <a:gd name="connsiteY1" fmla="*/ 0 h 4862351"/>
                      <a:gd name="connsiteX2" fmla="*/ 3905026 w 3905026"/>
                      <a:gd name="connsiteY2" fmla="*/ 4862351 h 4862351"/>
                      <a:gd name="connsiteX3" fmla="*/ 0 w 3905026"/>
                      <a:gd name="connsiteY3" fmla="*/ 4862351 h 4862351"/>
                      <a:gd name="connsiteX4" fmla="*/ 0 w 3905026"/>
                      <a:gd name="connsiteY4" fmla="*/ 0 h 48623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05026" h="4862351" extrusionOk="0">
                        <a:moveTo>
                          <a:pt x="0" y="0"/>
                        </a:moveTo>
                        <a:cubicBezTo>
                          <a:pt x="1697991" y="118645"/>
                          <a:pt x="3158916" y="116012"/>
                          <a:pt x="3905026" y="0"/>
                        </a:cubicBezTo>
                        <a:cubicBezTo>
                          <a:pt x="3772144" y="845083"/>
                          <a:pt x="3989977" y="3866116"/>
                          <a:pt x="3905026" y="4862351"/>
                        </a:cubicBezTo>
                        <a:cubicBezTo>
                          <a:pt x="3407221" y="4996951"/>
                          <a:pt x="1242864" y="4705155"/>
                          <a:pt x="0" y="4862351"/>
                        </a:cubicBezTo>
                        <a:cubicBezTo>
                          <a:pt x="-20187" y="4059868"/>
                          <a:pt x="-152480" y="599154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>
            <a:glow rad="148600">
              <a:srgbClr val="0070C0">
                <a:alpha val="40000"/>
              </a:srgb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F37F071-8E50-E7CE-9AAD-DFD0FBE35D93}"/>
              </a:ext>
            </a:extLst>
          </p:cNvPr>
          <p:cNvSpPr/>
          <p:nvPr/>
        </p:nvSpPr>
        <p:spPr>
          <a:xfrm>
            <a:off x="8106196" y="1165253"/>
            <a:ext cx="3673785" cy="5124579"/>
          </a:xfrm>
          <a:prstGeom prst="rect">
            <a:avLst/>
          </a:prstGeom>
          <a:noFill/>
          <a:ln w="12700" cap="rnd"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3905026"/>
                      <a:gd name="connsiteY0" fmla="*/ 0 h 4862351"/>
                      <a:gd name="connsiteX1" fmla="*/ 3905026 w 3905026"/>
                      <a:gd name="connsiteY1" fmla="*/ 0 h 4862351"/>
                      <a:gd name="connsiteX2" fmla="*/ 3905026 w 3905026"/>
                      <a:gd name="connsiteY2" fmla="*/ 4862351 h 4862351"/>
                      <a:gd name="connsiteX3" fmla="*/ 0 w 3905026"/>
                      <a:gd name="connsiteY3" fmla="*/ 4862351 h 4862351"/>
                      <a:gd name="connsiteX4" fmla="*/ 0 w 3905026"/>
                      <a:gd name="connsiteY4" fmla="*/ 0 h 48623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05026" h="4862351" extrusionOk="0">
                        <a:moveTo>
                          <a:pt x="0" y="0"/>
                        </a:moveTo>
                        <a:cubicBezTo>
                          <a:pt x="1697991" y="118645"/>
                          <a:pt x="3158916" y="116012"/>
                          <a:pt x="3905026" y="0"/>
                        </a:cubicBezTo>
                        <a:cubicBezTo>
                          <a:pt x="3772144" y="845083"/>
                          <a:pt x="3989977" y="3866116"/>
                          <a:pt x="3905026" y="4862351"/>
                        </a:cubicBezTo>
                        <a:cubicBezTo>
                          <a:pt x="3407221" y="4996951"/>
                          <a:pt x="1242864" y="4705155"/>
                          <a:pt x="0" y="4862351"/>
                        </a:cubicBezTo>
                        <a:cubicBezTo>
                          <a:pt x="-20187" y="4059868"/>
                          <a:pt x="-152480" y="599154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FE17A4-9C5A-679E-C2B9-E23B0E95979D}"/>
              </a:ext>
            </a:extLst>
          </p:cNvPr>
          <p:cNvSpPr txBox="1"/>
          <p:nvPr/>
        </p:nvSpPr>
        <p:spPr>
          <a:xfrm>
            <a:off x="4698963" y="5022137"/>
            <a:ext cx="28200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2000" dirty="0">
                <a:solidFill>
                  <a:srgbClr val="C00000"/>
                </a:solidFill>
              </a:rPr>
              <a:t>Results on next slides!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71B768-0F9B-0966-53B3-99724B9788F8}"/>
              </a:ext>
            </a:extLst>
          </p:cNvPr>
          <p:cNvSpPr txBox="1"/>
          <p:nvPr/>
        </p:nvSpPr>
        <p:spPr>
          <a:xfrm rot="2113757">
            <a:off x="7045551" y="1618989"/>
            <a:ext cx="752559" cy="369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b="1" dirty="0">
                <a:solidFill>
                  <a:srgbClr val="00B050"/>
                </a:solidFill>
              </a:rPr>
              <a:t>NEW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6527C71-0E6B-EDBC-1CE5-CFB4E27EBE88}"/>
              </a:ext>
            </a:extLst>
          </p:cNvPr>
          <p:cNvSpPr txBox="1"/>
          <p:nvPr/>
        </p:nvSpPr>
        <p:spPr>
          <a:xfrm rot="2113757">
            <a:off x="10739860" y="1504081"/>
            <a:ext cx="11579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NO" sz="1600" b="1" dirty="0">
                <a:solidFill>
                  <a:srgbClr val="00B050"/>
                </a:solidFill>
              </a:rPr>
              <a:t>COMING SOON</a:t>
            </a:r>
          </a:p>
        </p:txBody>
      </p:sp>
    </p:spTree>
    <p:extLst>
      <p:ext uri="{BB962C8B-B14F-4D97-AF65-F5344CB8AC3E}">
        <p14:creationId xmlns:p14="http://schemas.microsoft.com/office/powerpoint/2010/main" val="344894661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diagram of a computer program&#10;&#10;Description automatically generated">
            <a:extLst>
              <a:ext uri="{FF2B5EF4-FFF2-40B4-BE49-F238E27FC236}">
                <a16:creationId xmlns:a16="http://schemas.microsoft.com/office/drawing/2014/main" id="{80D3619F-9A78-BBB9-A22C-BF37805B46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1989" y="247738"/>
            <a:ext cx="2951125" cy="1745953"/>
          </a:xfrm>
          <a:prstGeom prst="rect">
            <a:avLst/>
          </a:prstGeom>
        </p:spPr>
      </p:pic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0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developing</a:t>
            </a:r>
            <a:r>
              <a:rPr lang="nb-NO" sz="2200" dirty="0"/>
              <a:t> </a:t>
            </a:r>
            <a:r>
              <a:rPr lang="nb-NO" sz="2200" dirty="0" err="1"/>
              <a:t>NorESMhub</a:t>
            </a:r>
            <a:r>
              <a:rPr lang="nb-NO" sz="2200" dirty="0"/>
              <a:t>/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8: push </a:t>
            </a:r>
            <a:r>
              <a:rPr lang="nb-NO" sz="2200" dirty="0" err="1">
                <a:solidFill>
                  <a:schemeClr val="tx1"/>
                </a:solidFill>
              </a:rPr>
              <a:t>changes</a:t>
            </a:r>
            <a:r>
              <a:rPr lang="nb-NO" sz="2200" dirty="0">
                <a:solidFill>
                  <a:schemeClr val="tx1"/>
                </a:solidFill>
              </a:rPr>
              <a:t> from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local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lone</a:t>
            </a:r>
            <a:r>
              <a:rPr lang="nb-NO" sz="2200" dirty="0">
                <a:solidFill>
                  <a:schemeClr val="tx1"/>
                </a:solidFill>
              </a:rPr>
              <a:t> to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github</a:t>
            </a:r>
            <a:r>
              <a:rPr lang="nb-NO" sz="2200" dirty="0">
                <a:solidFill>
                  <a:schemeClr val="tx1"/>
                </a:solidFill>
              </a:rPr>
              <a:t> fork 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901683-0A81-0261-E607-F04F13E2F1FC}"/>
              </a:ext>
            </a:extLst>
          </p:cNvPr>
          <p:cNvSpPr txBox="1"/>
          <p:nvPr/>
        </p:nvSpPr>
        <p:spPr>
          <a:xfrm>
            <a:off x="643462" y="2016668"/>
            <a:ext cx="6096000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2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push</a:t>
            </a:r>
            <a:endParaRPr lang="en-NO" sz="220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endParaRPr lang="en-NO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endParaRPr lang="en-NO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8F10D00-D27E-F1B1-4DBB-A421ABDEC461}"/>
              </a:ext>
            </a:extLst>
          </p:cNvPr>
          <p:cNvSpPr/>
          <p:nvPr/>
        </p:nvSpPr>
        <p:spPr>
          <a:xfrm>
            <a:off x="11005279" y="1061812"/>
            <a:ext cx="134385" cy="10493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249567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diagram of a computer program&#10;&#10;Description automatically generated">
            <a:extLst>
              <a:ext uri="{FF2B5EF4-FFF2-40B4-BE49-F238E27FC236}">
                <a16:creationId xmlns:a16="http://schemas.microsoft.com/office/drawing/2014/main" id="{22B8511D-A350-1F8F-6F3D-B27E162313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1989" y="247738"/>
            <a:ext cx="2951125" cy="1745953"/>
          </a:xfrm>
          <a:prstGeom prst="rect">
            <a:avLst/>
          </a:prstGeom>
        </p:spPr>
      </p:pic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1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developing</a:t>
            </a:r>
            <a:r>
              <a:rPr lang="nb-NO" sz="2200" dirty="0"/>
              <a:t> </a:t>
            </a:r>
            <a:r>
              <a:rPr lang="nb-NO" sz="2200" dirty="0" err="1"/>
              <a:t>NorESMhub</a:t>
            </a:r>
            <a:r>
              <a:rPr lang="nb-NO" sz="2200" dirty="0"/>
              <a:t>/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9: pull </a:t>
            </a:r>
            <a:r>
              <a:rPr lang="nb-NO" sz="2200" dirty="0" err="1">
                <a:solidFill>
                  <a:schemeClr val="tx1"/>
                </a:solidFill>
              </a:rPr>
              <a:t>request</a:t>
            </a:r>
            <a:r>
              <a:rPr lang="nb-NO" sz="2200" dirty="0">
                <a:solidFill>
                  <a:schemeClr val="tx1"/>
                </a:solidFill>
              </a:rPr>
              <a:t> for applying </a:t>
            </a:r>
            <a:r>
              <a:rPr lang="nb-NO" sz="2200" dirty="0" err="1">
                <a:solidFill>
                  <a:schemeClr val="tx1"/>
                </a:solidFill>
              </a:rPr>
              <a:t>changes</a:t>
            </a:r>
            <a:r>
              <a:rPr lang="nb-NO" sz="2200" dirty="0">
                <a:solidFill>
                  <a:schemeClr val="tx1"/>
                </a:solidFill>
              </a:rPr>
              <a:t> from fork to </a:t>
            </a:r>
            <a:r>
              <a:rPr lang="nb-NO" sz="2200" dirty="0" err="1">
                <a:solidFill>
                  <a:schemeClr val="tx1"/>
                </a:solidFill>
              </a:rPr>
              <a:t>NorESMhub</a:t>
            </a:r>
            <a:r>
              <a:rPr lang="nb-NO" sz="2200" dirty="0">
                <a:solidFill>
                  <a:schemeClr val="tx1"/>
                </a:solidFill>
              </a:rPr>
              <a:t>/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98EB82B9-4B72-D0AE-72A6-796B6FD4DA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70842" y="1836756"/>
            <a:ext cx="6890124" cy="4584177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0C980038-4DA4-C15E-5D40-E365D5BDC61A}"/>
              </a:ext>
            </a:extLst>
          </p:cNvPr>
          <p:cNvSpPr/>
          <p:nvPr/>
        </p:nvSpPr>
        <p:spPr>
          <a:xfrm>
            <a:off x="4900053" y="3553803"/>
            <a:ext cx="2601414" cy="2348487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88A4EDA9-CC4B-F49E-7289-4F3C2C5B0835}"/>
              </a:ext>
            </a:extLst>
          </p:cNvPr>
          <p:cNvSpPr/>
          <p:nvPr/>
        </p:nvSpPr>
        <p:spPr>
          <a:xfrm>
            <a:off x="10495615" y="627100"/>
            <a:ext cx="134385" cy="10493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963669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892BB564-5540-8267-4C57-C2E2796664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5780" y="2085885"/>
            <a:ext cx="6037126" cy="4113669"/>
          </a:xfrm>
          <a:prstGeom prst="rect">
            <a:avLst/>
          </a:prstGeom>
        </p:spPr>
      </p:pic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886DC6EA-46CF-554C-7D29-BD325B46F5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8686" y="2085886"/>
            <a:ext cx="5600180" cy="3921026"/>
          </a:xfrm>
          <a:prstGeom prst="rect">
            <a:avLst/>
          </a:prstGeom>
        </p:spPr>
      </p:pic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2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10: </a:t>
            </a:r>
            <a:r>
              <a:rPr lang="nb-NO" sz="2200" dirty="0" err="1">
                <a:solidFill>
                  <a:schemeClr val="tx1"/>
                </a:solidFill>
              </a:rPr>
              <a:t>merge</a:t>
            </a:r>
            <a:r>
              <a:rPr lang="nb-NO" sz="2200" dirty="0">
                <a:solidFill>
                  <a:schemeClr val="tx1"/>
                </a:solidFill>
              </a:rPr>
              <a:t> pull </a:t>
            </a:r>
            <a:r>
              <a:rPr lang="nb-NO" sz="2200" dirty="0" err="1">
                <a:solidFill>
                  <a:schemeClr val="tx1"/>
                </a:solidFill>
              </a:rPr>
              <a:t>request</a:t>
            </a:r>
            <a:r>
              <a:rPr lang="nb-NO" sz="2200" dirty="0">
                <a:solidFill>
                  <a:schemeClr val="tx1"/>
                </a:solidFill>
              </a:rPr>
              <a:t> (</a:t>
            </a:r>
            <a:r>
              <a:rPr lang="nb-NO" sz="2200" dirty="0" err="1">
                <a:solidFill>
                  <a:schemeClr val="tx1"/>
                </a:solidFill>
              </a:rPr>
              <a:t>only</a:t>
            </a:r>
            <a:r>
              <a:rPr lang="nb-NO" sz="2200" dirty="0">
                <a:solidFill>
                  <a:schemeClr val="tx1"/>
                </a:solidFill>
              </a:rPr>
              <a:t> for </a:t>
            </a:r>
            <a:r>
              <a:rPr lang="nb-NO" sz="2200" dirty="0" err="1">
                <a:solidFill>
                  <a:schemeClr val="tx1"/>
                </a:solidFill>
              </a:rPr>
              <a:t>maintainers</a:t>
            </a:r>
            <a:r>
              <a:rPr lang="nb-NO" sz="2200" dirty="0">
                <a:solidFill>
                  <a:schemeClr val="tx1"/>
                </a:solidFill>
              </a:rPr>
              <a:t>)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C980038-4DA4-C15E-5D40-E365D5BDC61A}"/>
              </a:ext>
            </a:extLst>
          </p:cNvPr>
          <p:cNvSpPr/>
          <p:nvPr/>
        </p:nvSpPr>
        <p:spPr>
          <a:xfrm>
            <a:off x="996921" y="2277534"/>
            <a:ext cx="1119746" cy="48833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FF3C7BD-54F2-0D75-DD16-5C4A9E3A8F50}"/>
              </a:ext>
            </a:extLst>
          </p:cNvPr>
          <p:cNvSpPr/>
          <p:nvPr/>
        </p:nvSpPr>
        <p:spPr>
          <a:xfrm>
            <a:off x="6297054" y="5694286"/>
            <a:ext cx="1424546" cy="50526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pic>
        <p:nvPicPr>
          <p:cNvPr id="2" name="Picture 1" descr="A diagram of a computer program&#10;&#10;Description automatically generated">
            <a:extLst>
              <a:ext uri="{FF2B5EF4-FFF2-40B4-BE49-F238E27FC236}">
                <a16:creationId xmlns:a16="http://schemas.microsoft.com/office/drawing/2014/main" id="{900D4199-4F56-8CA3-0E90-0D47E2AAFC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71989" y="247738"/>
            <a:ext cx="2951125" cy="1745953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6C0B3FE1-B6FD-FD31-2CC6-5AE26DB8208D}"/>
              </a:ext>
            </a:extLst>
          </p:cNvPr>
          <p:cNvSpPr/>
          <p:nvPr/>
        </p:nvSpPr>
        <p:spPr>
          <a:xfrm>
            <a:off x="10285753" y="612106"/>
            <a:ext cx="134385" cy="10493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72871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3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Statu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ready</a:t>
            </a:r>
            <a:r>
              <a:rPr lang="nb-NO" sz="2200" dirty="0">
                <a:solidFill>
                  <a:schemeClr val="tx1"/>
                </a:solidFill>
              </a:rPr>
              <a:t>-to-</a:t>
            </a:r>
            <a:r>
              <a:rPr lang="nb-NO" sz="2200" dirty="0" err="1">
                <a:solidFill>
                  <a:schemeClr val="tx1"/>
                </a:solidFill>
              </a:rPr>
              <a:t>use</a:t>
            </a:r>
            <a:r>
              <a:rPr lang="nb-NO" sz="2200" dirty="0">
                <a:solidFill>
                  <a:schemeClr val="tx1"/>
                </a:solidFill>
              </a:rPr>
              <a:t> NorESM2 </a:t>
            </a:r>
            <a:r>
              <a:rPr lang="nb-NO" sz="2200" dirty="0" err="1">
                <a:solidFill>
                  <a:schemeClr val="tx1"/>
                </a:solidFill>
              </a:rPr>
              <a:t>setup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with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daily</a:t>
            </a:r>
            <a:r>
              <a:rPr lang="nb-NO" sz="2200" dirty="0">
                <a:solidFill>
                  <a:schemeClr val="tx1"/>
                </a:solidFill>
              </a:rPr>
              <a:t> SST </a:t>
            </a:r>
            <a:r>
              <a:rPr lang="nb-NO" sz="2200" dirty="0" err="1">
                <a:solidFill>
                  <a:schemeClr val="tx1"/>
                </a:solidFill>
              </a:rPr>
              <a:t>assimilation</a:t>
            </a:r>
            <a:r>
              <a:rPr lang="nb-NO" sz="2200" dirty="0">
                <a:solidFill>
                  <a:schemeClr val="tx1"/>
                </a:solidFill>
              </a:rPr>
              <a:t> and </a:t>
            </a:r>
            <a:r>
              <a:rPr lang="nb-NO" sz="2200" dirty="0" err="1">
                <a:solidFill>
                  <a:schemeClr val="tx1"/>
                </a:solidFill>
              </a:rPr>
              <a:t>monthly</a:t>
            </a:r>
            <a:r>
              <a:rPr lang="nb-NO" sz="2200" dirty="0">
                <a:solidFill>
                  <a:schemeClr val="tx1"/>
                </a:solidFill>
              </a:rPr>
              <a:t> T/S </a:t>
            </a:r>
            <a:r>
              <a:rPr lang="nb-NO" sz="2200" dirty="0" err="1">
                <a:solidFill>
                  <a:schemeClr val="tx1"/>
                </a:solidFill>
              </a:rPr>
              <a:t>assimilation</a:t>
            </a:r>
            <a:endParaRPr lang="nb-NO" sz="220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2200" dirty="0">
                <a:solidFill>
                  <a:schemeClr val="tx1"/>
                </a:solidFill>
              </a:rPr>
              <a:t>initial </a:t>
            </a:r>
            <a:r>
              <a:rPr lang="nb-NO" sz="2200" dirty="0" err="1">
                <a:solidFill>
                  <a:schemeClr val="tx1"/>
                </a:solidFill>
              </a:rPr>
              <a:t>conditions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available</a:t>
            </a:r>
            <a:r>
              <a:rPr lang="nb-NO" sz="2200" dirty="0">
                <a:solidFill>
                  <a:schemeClr val="tx1"/>
                </a:solidFill>
              </a:rPr>
              <a:t> for 10 </a:t>
            </a:r>
            <a:r>
              <a:rPr lang="nb-NO" sz="2200" dirty="0" err="1">
                <a:solidFill>
                  <a:schemeClr val="tx1"/>
                </a:solidFill>
              </a:rPr>
              <a:t>members</a:t>
            </a:r>
            <a:r>
              <a:rPr lang="nb-NO" sz="2200" dirty="0">
                <a:solidFill>
                  <a:schemeClr val="tx1"/>
                </a:solidFill>
              </a:rPr>
              <a:t> for </a:t>
            </a:r>
            <a:r>
              <a:rPr lang="nb-NO" sz="2200" dirty="0" err="1">
                <a:solidFill>
                  <a:schemeClr val="tx1"/>
                </a:solidFill>
              </a:rPr>
              <a:t>years</a:t>
            </a:r>
            <a:r>
              <a:rPr lang="nb-NO" sz="2200" dirty="0">
                <a:solidFill>
                  <a:schemeClr val="tx1"/>
                </a:solidFill>
              </a:rPr>
              <a:t> 1975, 1985, 1996, 2015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2200" dirty="0">
                <a:solidFill>
                  <a:schemeClr val="tx1"/>
                </a:solidFill>
              </a:rPr>
              <a:t>must </a:t>
            </a:r>
            <a:r>
              <a:rPr lang="nb-NO" sz="2200" dirty="0" err="1">
                <a:solidFill>
                  <a:schemeClr val="tx1"/>
                </a:solidFill>
              </a:rPr>
              <a:t>switch</a:t>
            </a:r>
            <a:r>
              <a:rPr lang="nb-NO" sz="2200" dirty="0">
                <a:solidFill>
                  <a:schemeClr val="tx1"/>
                </a:solidFill>
              </a:rPr>
              <a:t> from </a:t>
            </a:r>
            <a:r>
              <a:rPr lang="nb-NO" sz="2200" dirty="0" err="1">
                <a:solidFill>
                  <a:schemeClr val="tx1"/>
                </a:solidFill>
              </a:rPr>
              <a:t>historical</a:t>
            </a:r>
            <a:r>
              <a:rPr lang="nb-NO" sz="2200" dirty="0">
                <a:solidFill>
                  <a:schemeClr val="tx1"/>
                </a:solidFill>
              </a:rPr>
              <a:t> to scenario </a:t>
            </a:r>
            <a:r>
              <a:rPr lang="nb-NO" sz="2200" dirty="0" err="1">
                <a:solidFill>
                  <a:schemeClr val="tx1"/>
                </a:solidFill>
              </a:rPr>
              <a:t>compset</a:t>
            </a:r>
            <a:r>
              <a:rPr lang="nb-NO" sz="2200" dirty="0">
                <a:solidFill>
                  <a:schemeClr val="tx1"/>
                </a:solidFill>
              </a:rPr>
              <a:t> in 2015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git-workflow</a:t>
            </a:r>
            <a:r>
              <a:rPr lang="nb-NO" sz="2200" dirty="0">
                <a:solidFill>
                  <a:schemeClr val="tx1"/>
                </a:solidFill>
              </a:rPr>
              <a:t> for </a:t>
            </a:r>
            <a:r>
              <a:rPr lang="nb-NO" sz="2200" dirty="0" err="1">
                <a:solidFill>
                  <a:schemeClr val="tx1"/>
                </a:solidFill>
              </a:rPr>
              <a:t>contributing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new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developments</a:t>
            </a: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nb-NO" sz="2200" dirty="0" err="1">
                <a:solidFill>
                  <a:schemeClr val="tx1"/>
                </a:solidFill>
              </a:rPr>
              <a:t>Coming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soon</a:t>
            </a: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nb-NO" sz="1000" dirty="0">
                <a:solidFill>
                  <a:schemeClr val="tx1"/>
                </a:solidFill>
              </a:rPr>
              <a:t> 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2200" dirty="0">
                <a:solidFill>
                  <a:schemeClr val="tx1"/>
                </a:solidFill>
              </a:rPr>
              <a:t>more </a:t>
            </a:r>
            <a:r>
              <a:rPr lang="nb-NO" sz="2200" dirty="0" err="1">
                <a:solidFill>
                  <a:schemeClr val="tx1"/>
                </a:solidFill>
              </a:rPr>
              <a:t>restart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members</a:t>
            </a:r>
            <a:r>
              <a:rPr lang="nb-NO" sz="2200" dirty="0">
                <a:solidFill>
                  <a:schemeClr val="tx1"/>
                </a:solidFill>
              </a:rPr>
              <a:t> and </a:t>
            </a:r>
            <a:r>
              <a:rPr lang="nb-NO" sz="2200" dirty="0" err="1">
                <a:solidFill>
                  <a:schemeClr val="tx1"/>
                </a:solidFill>
              </a:rPr>
              <a:t>restart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dates</a:t>
            </a:r>
            <a:r>
              <a:rPr lang="nb-NO" sz="2200" dirty="0">
                <a:solidFill>
                  <a:schemeClr val="tx1"/>
                </a:solidFill>
              </a:rPr>
              <a:t> for NorESM2-LM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combined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historical</a:t>
            </a:r>
            <a:r>
              <a:rPr lang="nb-NO" sz="2200" dirty="0">
                <a:solidFill>
                  <a:schemeClr val="tx1"/>
                </a:solidFill>
              </a:rPr>
              <a:t>-scenario </a:t>
            </a:r>
            <a:r>
              <a:rPr lang="nb-NO" sz="2200" dirty="0" err="1">
                <a:solidFill>
                  <a:schemeClr val="tx1"/>
                </a:solidFill>
              </a:rPr>
              <a:t>compset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that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allows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running</a:t>
            </a:r>
            <a:r>
              <a:rPr lang="nb-NO" sz="2200" dirty="0">
                <a:solidFill>
                  <a:schemeClr val="tx1"/>
                </a:solidFill>
              </a:rPr>
              <a:t> 1850-2100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2200" dirty="0">
                <a:solidFill>
                  <a:schemeClr val="tx1"/>
                </a:solidFill>
              </a:rPr>
              <a:t>support for 1991-2020 </a:t>
            </a:r>
            <a:r>
              <a:rPr lang="nb-NO" sz="2200" dirty="0" err="1">
                <a:solidFill>
                  <a:schemeClr val="tx1"/>
                </a:solidFill>
              </a:rPr>
              <a:t>referenc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period</a:t>
            </a:r>
            <a:r>
              <a:rPr lang="nb-NO" sz="2200" dirty="0">
                <a:solidFill>
                  <a:schemeClr val="tx1"/>
                </a:solidFill>
              </a:rPr>
              <a:t> (in </a:t>
            </a:r>
            <a:r>
              <a:rPr lang="nb-NO" sz="2200" dirty="0" err="1">
                <a:solidFill>
                  <a:schemeClr val="tx1"/>
                </a:solidFill>
              </a:rPr>
              <a:t>addition</a:t>
            </a:r>
            <a:r>
              <a:rPr lang="nb-NO" sz="2200" dirty="0">
                <a:solidFill>
                  <a:schemeClr val="tx1"/>
                </a:solidFill>
              </a:rPr>
              <a:t> to 1980-2010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2200" dirty="0">
                <a:solidFill>
                  <a:schemeClr val="tx1"/>
                </a:solidFill>
              </a:rPr>
              <a:t>«full-online» </a:t>
            </a:r>
            <a:r>
              <a:rPr lang="nb-NO" sz="2200" dirty="0" err="1">
                <a:solidFill>
                  <a:schemeClr val="tx1"/>
                </a:solidFill>
              </a:rPr>
              <a:t>assimilation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setup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developed</a:t>
            </a:r>
            <a:r>
              <a:rPr lang="nb-NO" sz="2200" dirty="0">
                <a:solidFill>
                  <a:schemeClr val="tx1"/>
                </a:solidFill>
              </a:rPr>
              <a:t> by Ping-Gin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2302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4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 err="1"/>
              <a:t>Daily</a:t>
            </a:r>
            <a:r>
              <a:rPr lang="nb-NO" sz="2200" dirty="0"/>
              <a:t> </a:t>
            </a:r>
            <a:r>
              <a:rPr lang="nb-NO" sz="2200" dirty="0" err="1"/>
              <a:t>ocean</a:t>
            </a:r>
            <a:r>
              <a:rPr lang="nb-NO" sz="2200" dirty="0"/>
              <a:t> data </a:t>
            </a:r>
            <a:r>
              <a:rPr lang="nb-NO" sz="2200" dirty="0" err="1"/>
              <a:t>assimilation</a:t>
            </a:r>
            <a:r>
              <a:rPr lang="nb-NO" sz="2200" dirty="0"/>
              <a:t> </a:t>
            </a:r>
            <a:r>
              <a:rPr lang="nb-NO" sz="2200" dirty="0" err="1"/>
              <a:t>with</a:t>
            </a:r>
            <a:r>
              <a:rPr lang="nb-NO" sz="2200" dirty="0"/>
              <a:t> NorESM2 </a:t>
            </a:r>
            <a:r>
              <a:rPr lang="nb-NO" sz="2200" i="1" dirty="0"/>
              <a:t>(</a:t>
            </a:r>
            <a:r>
              <a:rPr lang="nb-NO" sz="2200" i="1" dirty="0" err="1"/>
              <a:t>preliminary</a:t>
            </a:r>
            <a:r>
              <a:rPr lang="nb-NO" sz="2200" i="1" dirty="0"/>
              <a:t> </a:t>
            </a:r>
            <a:r>
              <a:rPr lang="nb-NO" sz="2200" i="1" dirty="0" err="1"/>
              <a:t>results</a:t>
            </a:r>
            <a:r>
              <a:rPr lang="nb-NO" sz="2200" i="1" dirty="0"/>
              <a:t>)</a:t>
            </a:r>
            <a:r>
              <a:rPr lang="nb-NO" sz="2200" dirty="0"/>
              <a:t>   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1766395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nb-NO" sz="2200" b="1" dirty="0">
                <a:solidFill>
                  <a:schemeClr val="tx1"/>
                </a:solidFill>
              </a:rPr>
              <a:t>Test </a:t>
            </a:r>
            <a:r>
              <a:rPr lang="nb-NO" sz="2200" b="1" dirty="0" err="1">
                <a:solidFill>
                  <a:schemeClr val="tx1"/>
                </a:solidFill>
              </a:rPr>
              <a:t>using</a:t>
            </a:r>
            <a:r>
              <a:rPr lang="nb-NO" sz="2200" b="1" dirty="0">
                <a:solidFill>
                  <a:schemeClr val="tx1"/>
                </a:solidFill>
              </a:rPr>
              <a:t> </a:t>
            </a:r>
            <a:r>
              <a:rPr lang="nb-NO" sz="2200" b="1" dirty="0" err="1">
                <a:solidFill>
                  <a:schemeClr val="tx1"/>
                </a:solidFill>
              </a:rPr>
              <a:t>daily</a:t>
            </a:r>
            <a:r>
              <a:rPr lang="nb-NO" sz="2200" b="1" dirty="0">
                <a:solidFill>
                  <a:schemeClr val="tx1"/>
                </a:solidFill>
              </a:rPr>
              <a:t> </a:t>
            </a:r>
            <a:r>
              <a:rPr lang="nb-NO" sz="2200" b="1" dirty="0" err="1">
                <a:solidFill>
                  <a:schemeClr val="tx1"/>
                </a:solidFill>
              </a:rPr>
              <a:t>assim</a:t>
            </a:r>
            <a:r>
              <a:rPr lang="nb-NO" sz="2200" b="1" dirty="0">
                <a:solidFill>
                  <a:schemeClr val="tx1"/>
                </a:solidFill>
              </a:rPr>
              <a:t>. </a:t>
            </a:r>
            <a:r>
              <a:rPr lang="nb-NO" sz="2200" b="1" dirty="0" err="1">
                <a:solidFill>
                  <a:schemeClr val="tx1"/>
                </a:solidFill>
              </a:rPr>
              <a:t>of</a:t>
            </a:r>
            <a:r>
              <a:rPr lang="nb-NO" sz="2200" b="1" dirty="0">
                <a:solidFill>
                  <a:schemeClr val="tx1"/>
                </a:solidFill>
              </a:rPr>
              <a:t> </a:t>
            </a:r>
            <a:r>
              <a:rPr lang="nb-NO" sz="2200" b="1" dirty="0" err="1">
                <a:solidFill>
                  <a:schemeClr val="tx1"/>
                </a:solidFill>
              </a:rPr>
              <a:t>satellite</a:t>
            </a:r>
            <a:r>
              <a:rPr lang="nb-NO" sz="2200" b="1" dirty="0">
                <a:solidFill>
                  <a:schemeClr val="tx1"/>
                </a:solidFill>
              </a:rPr>
              <a:t> SSTs and </a:t>
            </a:r>
            <a:r>
              <a:rPr lang="nb-NO" sz="2200" b="1" dirty="0" err="1">
                <a:solidFill>
                  <a:schemeClr val="tx1"/>
                </a:solidFill>
              </a:rPr>
              <a:t>monthly</a:t>
            </a:r>
            <a:r>
              <a:rPr lang="nb-NO" sz="2200" b="1" dirty="0">
                <a:solidFill>
                  <a:schemeClr val="tx1"/>
                </a:solidFill>
              </a:rPr>
              <a:t> </a:t>
            </a:r>
            <a:r>
              <a:rPr lang="nb-NO" sz="2200" b="1" dirty="0" err="1">
                <a:solidFill>
                  <a:schemeClr val="tx1"/>
                </a:solidFill>
              </a:rPr>
              <a:t>assim</a:t>
            </a:r>
            <a:r>
              <a:rPr lang="nb-NO" sz="2200" b="1" dirty="0">
                <a:solidFill>
                  <a:schemeClr val="tx1"/>
                </a:solidFill>
              </a:rPr>
              <a:t>. </a:t>
            </a:r>
            <a:r>
              <a:rPr lang="nb-NO" sz="2200" b="1" dirty="0" err="1">
                <a:solidFill>
                  <a:schemeClr val="tx1"/>
                </a:solidFill>
              </a:rPr>
              <a:t>of</a:t>
            </a:r>
            <a:r>
              <a:rPr lang="nb-NO" sz="2200" b="1" dirty="0">
                <a:solidFill>
                  <a:schemeClr val="tx1"/>
                </a:solidFill>
              </a:rPr>
              <a:t> T/S </a:t>
            </a:r>
            <a:r>
              <a:rPr lang="nb-NO" sz="2200" b="1" dirty="0" err="1">
                <a:solidFill>
                  <a:schemeClr val="tx1"/>
                </a:solidFill>
              </a:rPr>
              <a:t>profiles</a:t>
            </a:r>
            <a:endParaRPr lang="nb-NO" sz="22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000" dirty="0">
              <a:solidFill>
                <a:schemeClr val="tx1"/>
              </a:solidFill>
            </a:endParaRPr>
          </a:p>
          <a:p>
            <a:r>
              <a:rPr lang="nb-NO" sz="2000" dirty="0">
                <a:solidFill>
                  <a:schemeClr val="tx1"/>
                </a:solidFill>
              </a:rPr>
              <a:t>Three 10-member ensembles </a:t>
            </a:r>
            <a:r>
              <a:rPr lang="nb-NO" sz="2000" dirty="0" err="1">
                <a:solidFill>
                  <a:schemeClr val="tx1"/>
                </a:solidFill>
              </a:rPr>
              <a:t>with</a:t>
            </a:r>
            <a:r>
              <a:rPr lang="nb-NO" sz="2000" dirty="0">
                <a:solidFill>
                  <a:schemeClr val="tx1"/>
                </a:solidFill>
              </a:rPr>
              <a:t> NorESM2-LM</a:t>
            </a:r>
          </a:p>
          <a:p>
            <a:pPr lvl="1">
              <a:lnSpc>
                <a:spcPct val="150000"/>
              </a:lnSpc>
            </a:pPr>
            <a:r>
              <a:rPr lang="nb-NO" sz="2000" dirty="0">
                <a:solidFill>
                  <a:schemeClr val="tx1"/>
                </a:solidFill>
              </a:rPr>
              <a:t>FREE (</a:t>
            </a:r>
            <a:r>
              <a:rPr lang="nb-NO" sz="2000" dirty="0" err="1">
                <a:solidFill>
                  <a:schemeClr val="tx1"/>
                </a:solidFill>
              </a:rPr>
              <a:t>no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assimilation</a:t>
            </a:r>
            <a:r>
              <a:rPr lang="nb-NO" sz="2000" dirty="0">
                <a:solidFill>
                  <a:schemeClr val="tx1"/>
                </a:solidFill>
              </a:rPr>
              <a:t>)  			</a:t>
            </a:r>
          </a:p>
          <a:p>
            <a:pPr lvl="1">
              <a:lnSpc>
                <a:spcPct val="150000"/>
              </a:lnSpc>
            </a:pPr>
            <a:r>
              <a:rPr lang="nb-NO" sz="2000" dirty="0">
                <a:solidFill>
                  <a:srgbClr val="00B050"/>
                </a:solidFill>
              </a:rPr>
              <a:t>MONTHLY (</a:t>
            </a:r>
            <a:r>
              <a:rPr lang="nb-NO" sz="2000" dirty="0" err="1">
                <a:solidFill>
                  <a:srgbClr val="00B050"/>
                </a:solidFill>
              </a:rPr>
              <a:t>monthly</a:t>
            </a:r>
            <a:r>
              <a:rPr lang="nb-NO" sz="2000" dirty="0">
                <a:solidFill>
                  <a:srgbClr val="00B050"/>
                </a:solidFill>
              </a:rPr>
              <a:t> SST + </a:t>
            </a:r>
            <a:r>
              <a:rPr lang="nb-NO" sz="2000" dirty="0" err="1">
                <a:solidFill>
                  <a:srgbClr val="00B050"/>
                </a:solidFill>
              </a:rPr>
              <a:t>monthly</a:t>
            </a:r>
            <a:r>
              <a:rPr lang="nb-NO" sz="2000" dirty="0">
                <a:solidFill>
                  <a:srgbClr val="00B050"/>
                </a:solidFill>
              </a:rPr>
              <a:t> T/S)  </a:t>
            </a:r>
          </a:p>
          <a:p>
            <a:pPr lvl="1">
              <a:lnSpc>
                <a:spcPct val="150000"/>
              </a:lnSpc>
            </a:pPr>
            <a:r>
              <a:rPr lang="nb-NO" sz="2000" dirty="0">
                <a:solidFill>
                  <a:srgbClr val="C00000"/>
                </a:solidFill>
              </a:rPr>
              <a:t>DAILY (</a:t>
            </a:r>
            <a:r>
              <a:rPr lang="nb-NO" sz="2000" dirty="0" err="1">
                <a:solidFill>
                  <a:srgbClr val="C00000"/>
                </a:solidFill>
              </a:rPr>
              <a:t>daily</a:t>
            </a:r>
            <a:r>
              <a:rPr lang="nb-NO" sz="2000" dirty="0">
                <a:solidFill>
                  <a:srgbClr val="C00000"/>
                </a:solidFill>
              </a:rPr>
              <a:t> SST + </a:t>
            </a:r>
            <a:r>
              <a:rPr lang="nb-NO" sz="2000" dirty="0" err="1">
                <a:solidFill>
                  <a:srgbClr val="C00000"/>
                </a:solidFill>
              </a:rPr>
              <a:t>monthly</a:t>
            </a:r>
            <a:r>
              <a:rPr lang="nb-NO" sz="2000" dirty="0">
                <a:solidFill>
                  <a:srgbClr val="C00000"/>
                </a:solidFill>
              </a:rPr>
              <a:t> T/S) 			</a:t>
            </a:r>
          </a:p>
          <a:p>
            <a:pPr lvl="1">
              <a:lnSpc>
                <a:spcPct val="150000"/>
              </a:lnSpc>
            </a:pPr>
            <a:endParaRPr lang="nb-NO" sz="2000" dirty="0">
              <a:solidFill>
                <a:schemeClr val="tx1"/>
              </a:solidFill>
            </a:endParaRPr>
          </a:p>
          <a:p>
            <a:r>
              <a:rPr lang="nb-NO" sz="2000" dirty="0">
                <a:solidFill>
                  <a:schemeClr val="tx1"/>
                </a:solidFill>
              </a:rPr>
              <a:t>1996-2003 </a:t>
            </a:r>
            <a:r>
              <a:rPr lang="nb-NO" sz="2000" dirty="0" err="1">
                <a:solidFill>
                  <a:schemeClr val="tx1"/>
                </a:solidFill>
              </a:rPr>
              <a:t>coverage</a:t>
            </a:r>
            <a:r>
              <a:rPr lang="nb-NO" sz="2000" dirty="0">
                <a:solidFill>
                  <a:schemeClr val="tx1"/>
                </a:solidFill>
              </a:rPr>
              <a:t> (</a:t>
            </a:r>
            <a:r>
              <a:rPr lang="nb-NO" sz="2000" dirty="0" err="1">
                <a:solidFill>
                  <a:schemeClr val="tx1"/>
                </a:solidFill>
              </a:rPr>
              <a:t>will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only</a:t>
            </a:r>
            <a:r>
              <a:rPr lang="nb-NO" sz="2000" dirty="0">
                <a:solidFill>
                  <a:schemeClr val="tx1"/>
                </a:solidFill>
              </a:rPr>
              <a:t> show </a:t>
            </a:r>
            <a:r>
              <a:rPr lang="nb-NO" sz="2000" dirty="0" err="1">
                <a:solidFill>
                  <a:schemeClr val="tx1"/>
                </a:solidFill>
              </a:rPr>
              <a:t>results</a:t>
            </a:r>
            <a:r>
              <a:rPr lang="nb-NO" sz="2000" dirty="0">
                <a:solidFill>
                  <a:schemeClr val="tx1"/>
                </a:solidFill>
              </a:rPr>
              <a:t> from first </a:t>
            </a:r>
            <a:r>
              <a:rPr lang="nb-NO" sz="2000" dirty="0" err="1">
                <a:solidFill>
                  <a:schemeClr val="tx1"/>
                </a:solidFill>
              </a:rPr>
              <a:t>year</a:t>
            </a:r>
            <a:r>
              <a:rPr lang="nb-NO" sz="2000" dirty="0">
                <a:solidFill>
                  <a:schemeClr val="tx1"/>
                </a:solidFill>
              </a:rPr>
              <a:t>)</a:t>
            </a:r>
          </a:p>
          <a:p>
            <a:pPr marL="0" indent="0">
              <a:buNone/>
            </a:pPr>
            <a:endParaRPr lang="nb-NO" sz="2000" dirty="0">
              <a:solidFill>
                <a:schemeClr val="tx1"/>
              </a:solidFill>
            </a:endParaRPr>
          </a:p>
          <a:p>
            <a:r>
              <a:rPr lang="nb-NO" sz="2000" dirty="0" err="1">
                <a:solidFill>
                  <a:schemeClr val="tx1"/>
                </a:solidFill>
              </a:rPr>
              <a:t>EnKF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anomaly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assimilation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with</a:t>
            </a:r>
            <a:r>
              <a:rPr lang="nb-NO" sz="2000" dirty="0">
                <a:solidFill>
                  <a:schemeClr val="tx1"/>
                </a:solidFill>
              </a:rPr>
              <a:t> 1980-2010 </a:t>
            </a:r>
            <a:r>
              <a:rPr lang="nb-NO" sz="2000" dirty="0" err="1">
                <a:solidFill>
                  <a:schemeClr val="tx1"/>
                </a:solidFill>
              </a:rPr>
              <a:t>reference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period</a:t>
            </a:r>
            <a:endParaRPr lang="nb-NO" sz="20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839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US" sz="2200" dirty="0"/>
              <a:t>Assimilation of daily SST and monthly T/S observations – </a:t>
            </a:r>
            <a:r>
              <a:rPr lang="en-US" sz="2200" dirty="0" err="1"/>
              <a:t>obs</a:t>
            </a:r>
            <a:r>
              <a:rPr lang="en-US" sz="2200" dirty="0"/>
              <a:t> vs free run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5</a:t>
            </a:fld>
            <a:endParaRPr lang="nb-NO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50209D-E030-C608-71AD-58795D9566C7}"/>
              </a:ext>
            </a:extLst>
          </p:cNvPr>
          <p:cNvSpPr txBox="1"/>
          <p:nvPr/>
        </p:nvSpPr>
        <p:spPr>
          <a:xfrm>
            <a:off x="2771482" y="1480989"/>
            <a:ext cx="937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/>
              <a:t>OISST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70C56E3-D0BB-0EEC-9F49-AA8CE53E0784}"/>
              </a:ext>
            </a:extLst>
          </p:cNvPr>
          <p:cNvSpPr txBox="1"/>
          <p:nvPr/>
        </p:nvSpPr>
        <p:spPr>
          <a:xfrm>
            <a:off x="7947351" y="1459419"/>
            <a:ext cx="2121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/>
              <a:t> FREE (member 1)</a:t>
            </a:r>
          </a:p>
        </p:txBody>
      </p:sp>
      <p:pic>
        <p:nvPicPr>
          <p:cNvPr id="10" name="anim_free_slow.mp4">
            <a:hlinkClick r:id="" action="ppaction://media"/>
            <a:extLst>
              <a:ext uri="{FF2B5EF4-FFF2-40B4-BE49-F238E27FC236}">
                <a16:creationId xmlns:a16="http://schemas.microsoft.com/office/drawing/2014/main" id="{9B7286CC-B7AF-6671-04B8-BED64FF0712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1814513"/>
            <a:ext cx="12192000" cy="3227387"/>
          </a:xfrm>
          <a:prstGeom prst="rect">
            <a:avLst/>
          </a:prstGeom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1C7E06C5-7309-9F30-E927-48C0D958F9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50" y="5176764"/>
            <a:ext cx="5524500" cy="104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9414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500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US" sz="2200" dirty="0"/>
              <a:t>Assimilation of daily SST and monthly T/S observations – </a:t>
            </a:r>
            <a:r>
              <a:rPr lang="en-US" sz="2200" dirty="0" err="1"/>
              <a:t>obs</a:t>
            </a:r>
            <a:r>
              <a:rPr lang="en-US" sz="2200" dirty="0"/>
              <a:t> vs monthly assimilation 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6</a:t>
            </a:fld>
            <a:endParaRPr lang="nb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70C56E3-D0BB-0EEC-9F49-AA8CE53E0784}"/>
              </a:ext>
            </a:extLst>
          </p:cNvPr>
          <p:cNvSpPr txBox="1"/>
          <p:nvPr/>
        </p:nvSpPr>
        <p:spPr>
          <a:xfrm>
            <a:off x="7480588" y="1461645"/>
            <a:ext cx="31513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>
                <a:solidFill>
                  <a:srgbClr val="00B050"/>
                </a:solidFill>
              </a:rPr>
              <a:t>MONTHLY (ensemble mean)</a:t>
            </a:r>
          </a:p>
        </p:txBody>
      </p:sp>
      <p:pic>
        <p:nvPicPr>
          <p:cNvPr id="3" name="anim_odamon_slow.mp4">
            <a:hlinkClick r:id="" action="ppaction://media"/>
            <a:extLst>
              <a:ext uri="{FF2B5EF4-FFF2-40B4-BE49-F238E27FC236}">
                <a16:creationId xmlns:a16="http://schemas.microsoft.com/office/drawing/2014/main" id="{7D5D441A-9F68-1922-7382-06AB9CF6F51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1814513"/>
            <a:ext cx="12192000" cy="322738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0F502EF-B584-AF23-E5E5-212D8C05D8EE}"/>
              </a:ext>
            </a:extLst>
          </p:cNvPr>
          <p:cNvSpPr txBox="1"/>
          <p:nvPr/>
        </p:nvSpPr>
        <p:spPr>
          <a:xfrm>
            <a:off x="2771482" y="1480989"/>
            <a:ext cx="937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/>
              <a:t>OISST 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FD637CFE-147D-94D6-C87D-169199DE28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50" y="5176764"/>
            <a:ext cx="5524500" cy="104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54715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50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US" sz="2200" dirty="0"/>
              <a:t>Assimilation of daily SST and monthly T/S observations – </a:t>
            </a:r>
            <a:r>
              <a:rPr lang="en-US" sz="2200" dirty="0" err="1"/>
              <a:t>obs</a:t>
            </a:r>
            <a:r>
              <a:rPr lang="en-US" sz="2200" dirty="0"/>
              <a:t> vs daily assimilation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7</a:t>
            </a:fld>
            <a:endParaRPr lang="nb-NO"/>
          </a:p>
        </p:txBody>
      </p:sp>
      <p:pic>
        <p:nvPicPr>
          <p:cNvPr id="5" name="anim_odaday_slow.mp4">
            <a:hlinkClick r:id="" action="ppaction://media"/>
            <a:extLst>
              <a:ext uri="{FF2B5EF4-FFF2-40B4-BE49-F238E27FC236}">
                <a16:creationId xmlns:a16="http://schemas.microsoft.com/office/drawing/2014/main" id="{C1F39746-06A6-6444-E8DA-9B2E15ED673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1814513"/>
            <a:ext cx="12192000" cy="322738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ED4F1FC-1C8A-6F7B-7EF8-4B6C88C4C436}"/>
              </a:ext>
            </a:extLst>
          </p:cNvPr>
          <p:cNvSpPr txBox="1"/>
          <p:nvPr/>
        </p:nvSpPr>
        <p:spPr>
          <a:xfrm>
            <a:off x="7480588" y="1461645"/>
            <a:ext cx="26897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>
                <a:solidFill>
                  <a:srgbClr val="C00000"/>
                </a:solidFill>
              </a:rPr>
              <a:t>DAILY (ensemble mean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DF3FAE-BB16-46FB-46DB-D67D1E0BBC31}"/>
              </a:ext>
            </a:extLst>
          </p:cNvPr>
          <p:cNvSpPr txBox="1"/>
          <p:nvPr/>
        </p:nvSpPr>
        <p:spPr>
          <a:xfrm>
            <a:off x="2771482" y="1480989"/>
            <a:ext cx="937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/>
              <a:t>OISST </a:t>
            </a:r>
          </a:p>
        </p:txBody>
      </p:sp>
      <p:pic>
        <p:nvPicPr>
          <p:cNvPr id="11" name="Picture 4">
            <a:extLst>
              <a:ext uri="{FF2B5EF4-FFF2-40B4-BE49-F238E27FC236}">
                <a16:creationId xmlns:a16="http://schemas.microsoft.com/office/drawing/2014/main" id="{C89D5B0D-E810-D92E-AE95-38652932A8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50" y="5176764"/>
            <a:ext cx="5524500" cy="104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6349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5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US" sz="2200" dirty="0"/>
              <a:t>Assimilation of daily SST and monthly T/S observations – global statistics (spatial averages)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8</a:t>
            </a:fld>
            <a:endParaRPr lang="nb-NO"/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B32A1207-1411-A954-C5D8-68ED741B8B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71588"/>
            <a:ext cx="12192000" cy="431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B929D64-593D-5745-58A3-94BE5C9FF9FE}"/>
                  </a:ext>
                </a:extLst>
              </p:cNvPr>
              <p:cNvSpPr txBox="1"/>
              <p:nvPr/>
            </p:nvSpPr>
            <p:spPr>
              <a:xfrm>
                <a:off x="1079577" y="5922556"/>
                <a:ext cx="458676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nb-NO" b="0" i="1" smtClean="0">
                        <a:latin typeface="Cambria Math" panose="02040503050406030204" pitchFamily="18" charset="0"/>
                      </a:rPr>
                      <m:t>𝐴𝐶𝐶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𝑝𝑎𝑡𝑡𝑒𝑟𝑛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𝑐𝑜𝑟𝑟𝑒𝑙𝑎𝑡𝑖𝑜𝑛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(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𝑎𝑟𝑒𝑎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𝑤𝑒𝑖𝑔h𝑡𝑒𝑑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NO" dirty="0"/>
                  <a:t> </a:t>
                </a: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B929D64-593D-5745-58A3-94BE5C9FF9F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79577" y="5922556"/>
                <a:ext cx="4586768" cy="276999"/>
              </a:xfrm>
              <a:prstGeom prst="rect">
                <a:avLst/>
              </a:prstGeom>
              <a:blipFill>
                <a:blip r:embed="rId4"/>
                <a:stretch>
                  <a:fillRect l="-1653" t="-4348" b="-39130"/>
                </a:stretch>
              </a:blipFill>
            </p:spPr>
            <p:txBody>
              <a:bodyPr/>
              <a:lstStyle/>
              <a:p>
                <a:r>
                  <a:rPr lang="en-N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20AE1AD7-34AA-330D-71E3-CEDF2F453653}"/>
                  </a:ext>
                </a:extLst>
              </p:cNvPr>
              <p:cNvSpPr txBox="1"/>
              <p:nvPr/>
            </p:nvSpPr>
            <p:spPr>
              <a:xfrm>
                <a:off x="6424056" y="5666504"/>
                <a:ext cx="5638338" cy="138499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nb-NO" b="0" i="1" smtClean="0">
                        <a:latin typeface="Cambria Math" panose="02040503050406030204" pitchFamily="18" charset="0"/>
                      </a:rPr>
                      <m:t>𝑅𝑀𝑆𝐸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𝑟𝑜𝑜𝑡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𝑚𝑒𝑎𝑛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𝑠𝑞𝑢𝑎𝑟𝑒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𝑑𝑒𝑣𝑖𝑎𝑡𝑖𝑜𝑛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(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𝑎𝑟𝑒𝑎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𝑤𝑒𝑖𝑔h𝑡𝑒𝑑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nb-NO" b="0" dirty="0"/>
                  <a:t> </a:t>
                </a:r>
                <a:endParaRPr lang="nb-NO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nb-NO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nb-NO">
                              <a:latin typeface="Cambria Math" panose="02040503050406030204" pitchFamily="18" charset="0"/>
                            </a:rPr>
                            <m:t>ERR</m:t>
                          </m:r>
                        </m:e>
                        <m:sub>
                          <m:r>
                            <a:rPr lang="nb-NO" b="0" i="1" smtClean="0">
                              <a:latin typeface="Cambria Math" panose="02040503050406030204" pitchFamily="18" charset="0"/>
                            </a:rPr>
                            <m:t>𝑂𝐵𝑆</m:t>
                          </m:r>
                        </m:sub>
                      </m:sSub>
                      <m:r>
                        <a:rPr lang="nb-NO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𝑜𝑏𝑠𝑒𝑟𝑣𝑎𝑡𝑖𝑜𝑛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𝑒𝑟𝑟𝑜𝑟</m:t>
                      </m:r>
                      <m:d>
                        <m:dPr>
                          <m:ctrlPr>
                            <a:rPr lang="nb-NO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nb-NO" i="1">
                              <a:latin typeface="Cambria Math" panose="02040503050406030204" pitchFamily="18" charset="0"/>
                            </a:rPr>
                            <m:t>𝑎𝑟𝑒𝑎</m:t>
                          </m:r>
                          <m:r>
                            <a:rPr lang="nb-NO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nb-NO" i="1">
                              <a:latin typeface="Cambria Math" panose="02040503050406030204" pitchFamily="18" charset="0"/>
                            </a:rPr>
                            <m:t>𝑤𝑒𝑖𝑔h𝑡𝑒𝑑</m:t>
                          </m:r>
                        </m:e>
                      </m:d>
                    </m:oMath>
                  </m:oMathPara>
                </a14:m>
                <a:endParaRPr lang="nb-NO" b="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NO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NO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nb-NO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𝐸𝑁𝑆</m:t>
                          </m:r>
                        </m:sub>
                      </m:sSub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𝑛𝑠𝑒𝑚𝑏𝑙𝑒</m:t>
                      </m:r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𝑝𝑟𝑒𝑎𝑑</m:t>
                      </m:r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(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𝑎𝑟𝑒𝑎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𝑤𝑒𝑖𝑔h𝑡𝑒𝑑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nb-NO" b="0" dirty="0">
                  <a:ea typeface="Cambria Math" panose="02040503050406030204" pitchFamily="18" charset="0"/>
                </a:endParaRPr>
              </a:p>
              <a:p>
                <a:endParaRPr lang="nb-NO" b="0" dirty="0">
                  <a:ea typeface="Cambria Math" panose="02040503050406030204" pitchFamily="18" charset="0"/>
                </a:endParaRPr>
              </a:p>
              <a:p>
                <a:endParaRPr lang="en-NO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20AE1AD7-34AA-330D-71E3-CEDF2F4536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24056" y="5666504"/>
                <a:ext cx="5638338" cy="1384995"/>
              </a:xfrm>
              <a:prstGeom prst="rect">
                <a:avLst/>
              </a:prstGeom>
              <a:blipFill>
                <a:blip r:embed="rId5"/>
                <a:stretch>
                  <a:fillRect l="-1348" t="-1818"/>
                </a:stretch>
              </a:blipFill>
            </p:spPr>
            <p:txBody>
              <a:bodyPr/>
              <a:lstStyle/>
              <a:p>
                <a:r>
                  <a:rPr lang="en-NO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602033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US" sz="2200" dirty="0"/>
              <a:t>Assimilation of daily SST and monthly T/S observations – global statistics (spatial averages)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9</a:t>
            </a:fld>
            <a:endParaRPr lang="nb-NO"/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B32A1207-1411-A954-C5D8-68ED741B8B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/>
        </p:blipFill>
        <p:spPr bwMode="auto">
          <a:xfrm>
            <a:off x="44795" y="1271588"/>
            <a:ext cx="12102410" cy="431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B929D64-593D-5745-58A3-94BE5C9FF9FE}"/>
                  </a:ext>
                </a:extLst>
              </p:cNvPr>
              <p:cNvSpPr txBox="1"/>
              <p:nvPr/>
            </p:nvSpPr>
            <p:spPr>
              <a:xfrm>
                <a:off x="1079577" y="5922556"/>
                <a:ext cx="458676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nb-NO" b="0" i="1" smtClean="0">
                        <a:latin typeface="Cambria Math" panose="02040503050406030204" pitchFamily="18" charset="0"/>
                      </a:rPr>
                      <m:t>𝐴𝐶𝐶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𝑝𝑎𝑡𝑡𝑒𝑟𝑛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𝑐𝑜𝑟𝑟𝑒𝑙𝑎𝑡𝑖𝑜𝑛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(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𝑎𝑟𝑒𝑎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𝑤𝑒𝑖𝑔h𝑡𝑒𝑑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NO" dirty="0"/>
                  <a:t> </a:t>
                </a: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B929D64-593D-5745-58A3-94BE5C9FF9F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79577" y="5922556"/>
                <a:ext cx="4586768" cy="276999"/>
              </a:xfrm>
              <a:prstGeom prst="rect">
                <a:avLst/>
              </a:prstGeom>
              <a:blipFill>
                <a:blip r:embed="rId4"/>
                <a:stretch>
                  <a:fillRect l="-1653" t="-4348" b="-39130"/>
                </a:stretch>
              </a:blipFill>
            </p:spPr>
            <p:txBody>
              <a:bodyPr/>
              <a:lstStyle/>
              <a:p>
                <a:r>
                  <a:rPr lang="en-N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20AE1AD7-34AA-330D-71E3-CEDF2F453653}"/>
                  </a:ext>
                </a:extLst>
              </p:cNvPr>
              <p:cNvSpPr txBox="1"/>
              <p:nvPr/>
            </p:nvSpPr>
            <p:spPr>
              <a:xfrm>
                <a:off x="6424056" y="5666504"/>
                <a:ext cx="5638338" cy="138499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nb-NO" b="0" i="1" smtClean="0">
                        <a:latin typeface="Cambria Math" panose="02040503050406030204" pitchFamily="18" charset="0"/>
                      </a:rPr>
                      <m:t>𝑅𝑀𝑆𝐸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𝑟𝑜𝑜𝑡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𝑚𝑒𝑎𝑛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𝑠𝑞𝑢𝑎𝑟𝑒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𝑑𝑒𝑣𝑖𝑎𝑡𝑖𝑜𝑛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(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𝑎𝑟𝑒𝑎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𝑤𝑒𝑖𝑔h𝑡𝑒𝑑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nb-NO" b="0" dirty="0"/>
                  <a:t> </a:t>
                </a:r>
                <a:endParaRPr lang="nb-NO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nb-NO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nb-NO">
                              <a:latin typeface="Cambria Math" panose="02040503050406030204" pitchFamily="18" charset="0"/>
                            </a:rPr>
                            <m:t>ERR</m:t>
                          </m:r>
                        </m:e>
                        <m:sub>
                          <m:r>
                            <a:rPr lang="nb-NO" b="0" i="1" smtClean="0">
                              <a:latin typeface="Cambria Math" panose="02040503050406030204" pitchFamily="18" charset="0"/>
                            </a:rPr>
                            <m:t>𝑂𝐵𝑆</m:t>
                          </m:r>
                        </m:sub>
                      </m:sSub>
                      <m:r>
                        <a:rPr lang="nb-NO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𝑜𝑏𝑠𝑒𝑟𝑣𝑎𝑡𝑖𝑜𝑛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𝑒𝑟𝑟𝑜𝑟</m:t>
                      </m:r>
                      <m:d>
                        <m:dPr>
                          <m:ctrlPr>
                            <a:rPr lang="nb-NO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nb-NO" i="1">
                              <a:latin typeface="Cambria Math" panose="02040503050406030204" pitchFamily="18" charset="0"/>
                            </a:rPr>
                            <m:t>𝑎𝑟𝑒𝑎</m:t>
                          </m:r>
                          <m:r>
                            <a:rPr lang="nb-NO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nb-NO" i="1">
                              <a:latin typeface="Cambria Math" panose="02040503050406030204" pitchFamily="18" charset="0"/>
                            </a:rPr>
                            <m:t>𝑤𝑒𝑖𝑔h𝑡𝑒𝑑</m:t>
                          </m:r>
                        </m:e>
                      </m:d>
                    </m:oMath>
                  </m:oMathPara>
                </a14:m>
                <a:endParaRPr lang="nb-NO" b="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NO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NO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nb-NO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𝐸𝑁𝑆</m:t>
                          </m:r>
                        </m:sub>
                      </m:sSub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𝑛𝑠𝑒𝑚𝑏𝑙𝑒</m:t>
                      </m:r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𝑝𝑟𝑒𝑎𝑑</m:t>
                      </m:r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(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𝑎𝑟𝑒𝑎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𝑤𝑒𝑖𝑔h𝑡𝑒𝑑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nb-NO" b="0" dirty="0">
                  <a:ea typeface="Cambria Math" panose="02040503050406030204" pitchFamily="18" charset="0"/>
                </a:endParaRPr>
              </a:p>
              <a:p>
                <a:endParaRPr lang="nb-NO" b="0" dirty="0">
                  <a:ea typeface="Cambria Math" panose="02040503050406030204" pitchFamily="18" charset="0"/>
                </a:endParaRPr>
              </a:p>
              <a:p>
                <a:endParaRPr lang="en-NO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20AE1AD7-34AA-330D-71E3-CEDF2F4536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24056" y="5666504"/>
                <a:ext cx="5638338" cy="1384995"/>
              </a:xfrm>
              <a:prstGeom prst="rect">
                <a:avLst/>
              </a:prstGeom>
              <a:blipFill>
                <a:blip r:embed="rId5"/>
                <a:stretch>
                  <a:fillRect l="-1348" t="-1818"/>
                </a:stretch>
              </a:blipFill>
            </p:spPr>
            <p:txBody>
              <a:bodyPr/>
              <a:lstStyle/>
              <a:p>
                <a:r>
                  <a:rPr lang="en-NO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026874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jerknes_PPT_16_9_v2.potx" id="{F5C35AE3-2B2E-4A4D-BD76-002FFE0A1658}" vid="{7E695B57-A21E-4A97-96BC-296B8590F30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3023</TotalTime>
  <Words>2337</Words>
  <Application>Microsoft Macintosh PowerPoint</Application>
  <PresentationFormat>Widescreen</PresentationFormat>
  <Paragraphs>461</Paragraphs>
  <Slides>33</Slides>
  <Notes>33</Notes>
  <HiddenSlides>0</HiddenSlides>
  <MMClips>3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39" baseType="lpstr">
      <vt:lpstr>Arial</vt:lpstr>
      <vt:lpstr>Calibri</vt:lpstr>
      <vt:lpstr>Cambria Math</vt:lpstr>
      <vt:lpstr>Menlo</vt:lpstr>
      <vt:lpstr>blank</vt:lpstr>
      <vt:lpstr>think-cell Slide</vt:lpstr>
      <vt:lpstr>Ready-to-use setup for high-frequent EnKF assimilation with NorESM2</vt:lpstr>
      <vt:lpstr>PowerPoint Presentation</vt:lpstr>
      <vt:lpstr>DA implementations for NorCPM</vt:lpstr>
      <vt:lpstr>Daily ocean data assimilation with NorESM2 (preliminary results)    </vt:lpstr>
      <vt:lpstr>Assimilation of daily SST and monthly T/S observations – obs vs free run</vt:lpstr>
      <vt:lpstr>Assimilation of daily SST and monthly T/S observations – obs vs monthly assimilation </vt:lpstr>
      <vt:lpstr>Assimilation of daily SST and monthly T/S observations – obs vs daily assimilation</vt:lpstr>
      <vt:lpstr>Assimilation of daily SST and monthly T/S observations – global statistics (spatial averages)</vt:lpstr>
      <vt:lpstr>Assimilation of daily SST and monthly T/S observations – global statistics (spatial averages)</vt:lpstr>
      <vt:lpstr>NorCPM roadmap towards DCPP CMIP7   </vt:lpstr>
      <vt:lpstr>PowerPoint Presentation</vt:lpstr>
      <vt:lpstr>NorCPM repository with revised structure https://github.com/NorESMhub/NorCPM  </vt:lpstr>
      <vt:lpstr>Mini-tutorial for performing a daily assimilation experiment using NorESM2-LM</vt:lpstr>
      <vt:lpstr>Workflow</vt:lpstr>
      <vt:lpstr>Workflow</vt:lpstr>
      <vt:lpstr>Customizing NorESM2 (cpu settings, source code, diagnostic output)</vt:lpstr>
      <vt:lpstr>Settings file – experiment and job settings </vt:lpstr>
      <vt:lpstr>Settings file – initialisation option 1: guessed reference case names</vt:lpstr>
      <vt:lpstr>Settings file – initialisation option 2: explicitely specified reference case names</vt:lpstr>
      <vt:lpstr>Settings file – initialisation option 3: single reference case, multiple reference dates</vt:lpstr>
      <vt:lpstr>Settings file – assimilation</vt:lpstr>
      <vt:lpstr>PowerPoint Presentation</vt:lpstr>
      <vt:lpstr>How to contribute to developing NorESMhub/NorCPM</vt:lpstr>
      <vt:lpstr>How to contribute to developing NorESMhub/NorCPM</vt:lpstr>
      <vt:lpstr>How to contribute to developing NorESMhub/NorCPM </vt:lpstr>
      <vt:lpstr>How to contribute to developing NorESMhub/NorCPM </vt:lpstr>
      <vt:lpstr>How to contribute to developing NorESMhub/NorCPM </vt:lpstr>
      <vt:lpstr>How to contribute to developing NorESMhub/NorCPM </vt:lpstr>
      <vt:lpstr>How to contribute to developing NorESMhub/NorCPM </vt:lpstr>
      <vt:lpstr>How to contribute to developing NorESMhub/NorCPM </vt:lpstr>
      <vt:lpstr>How to contribute to developing NorESMhub/NorCPM </vt:lpstr>
      <vt:lpstr>How to contribute to NorCPM </vt:lpstr>
      <vt:lpstr>Statu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subject/>
  <dc:creator>Ingo Bethke</dc:creator>
  <cp:keywords/>
  <dc:description/>
  <cp:lastModifiedBy>Ingo Bethke</cp:lastModifiedBy>
  <cp:revision>47</cp:revision>
  <dcterms:created xsi:type="dcterms:W3CDTF">2019-06-05T13:39:33Z</dcterms:created>
  <dcterms:modified xsi:type="dcterms:W3CDTF">2024-09-24T07:42:46Z</dcterms:modified>
  <cp:category/>
</cp:coreProperties>
</file>